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50"/>
  </p:notesMasterIdLst>
  <p:sldIdLst>
    <p:sldId id="274" r:id="rId5"/>
    <p:sldId id="838841309" r:id="rId6"/>
    <p:sldId id="257" r:id="rId7"/>
    <p:sldId id="838841342" r:id="rId8"/>
    <p:sldId id="838841326" r:id="rId9"/>
    <p:sldId id="838841198" r:id="rId10"/>
    <p:sldId id="838841325" r:id="rId11"/>
    <p:sldId id="838841317" r:id="rId12"/>
    <p:sldId id="838841324" r:id="rId13"/>
    <p:sldId id="838841321" r:id="rId14"/>
    <p:sldId id="838841346" r:id="rId15"/>
    <p:sldId id="838841318" r:id="rId16"/>
    <p:sldId id="838841319" r:id="rId17"/>
    <p:sldId id="838841333" r:id="rId18"/>
    <p:sldId id="838841343" r:id="rId19"/>
    <p:sldId id="838841335" r:id="rId20"/>
    <p:sldId id="282" r:id="rId21"/>
    <p:sldId id="258" r:id="rId22"/>
    <p:sldId id="838841345" r:id="rId23"/>
    <p:sldId id="838841271" r:id="rId24"/>
    <p:sldId id="285" r:id="rId25"/>
    <p:sldId id="283" r:id="rId26"/>
    <p:sldId id="286" r:id="rId27"/>
    <p:sldId id="287" r:id="rId28"/>
    <p:sldId id="288" r:id="rId29"/>
    <p:sldId id="289" r:id="rId30"/>
    <p:sldId id="292" r:id="rId31"/>
    <p:sldId id="276" r:id="rId32"/>
    <p:sldId id="277" r:id="rId33"/>
    <p:sldId id="838841315" r:id="rId34"/>
    <p:sldId id="838841327" r:id="rId35"/>
    <p:sldId id="838841328" r:id="rId36"/>
    <p:sldId id="838841329" r:id="rId37"/>
    <p:sldId id="838841330" r:id="rId38"/>
    <p:sldId id="838841322" r:id="rId39"/>
    <p:sldId id="348" r:id="rId40"/>
    <p:sldId id="838841311" r:id="rId41"/>
    <p:sldId id="838841338" r:id="rId42"/>
    <p:sldId id="838841339" r:id="rId43"/>
    <p:sldId id="260" r:id="rId44"/>
    <p:sldId id="838841313" r:id="rId45"/>
    <p:sldId id="838841340" r:id="rId46"/>
    <p:sldId id="838841341" r:id="rId47"/>
    <p:sldId id="838841344" r:id="rId48"/>
    <p:sldId id="838841310"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838841309"/>
            <p14:sldId id="257"/>
            <p14:sldId id="838841342"/>
            <p14:sldId id="838841326"/>
            <p14:sldId id="838841198"/>
            <p14:sldId id="838841325"/>
            <p14:sldId id="838841317"/>
            <p14:sldId id="838841324"/>
            <p14:sldId id="838841321"/>
            <p14:sldId id="838841346"/>
            <p14:sldId id="838841318"/>
            <p14:sldId id="838841319"/>
            <p14:sldId id="838841333"/>
            <p14:sldId id="838841343"/>
            <p14:sldId id="838841335"/>
            <p14:sldId id="282"/>
            <p14:sldId id="258"/>
            <p14:sldId id="838841345"/>
            <p14:sldId id="838841271"/>
            <p14:sldId id="285"/>
            <p14:sldId id="283"/>
            <p14:sldId id="286"/>
            <p14:sldId id="287"/>
            <p14:sldId id="288"/>
            <p14:sldId id="289"/>
            <p14:sldId id="292"/>
            <p14:sldId id="276"/>
            <p14:sldId id="277"/>
            <p14:sldId id="838841315"/>
            <p14:sldId id="838841327"/>
            <p14:sldId id="838841328"/>
            <p14:sldId id="838841329"/>
            <p14:sldId id="838841330"/>
            <p14:sldId id="838841322"/>
            <p14:sldId id="348"/>
            <p14:sldId id="838841311"/>
            <p14:sldId id="838841338"/>
            <p14:sldId id="838841339"/>
            <p14:sldId id="260"/>
            <p14:sldId id="838841313"/>
            <p14:sldId id="838841340"/>
            <p14:sldId id="838841341"/>
            <p14:sldId id="838841344"/>
            <p14:sldId id="838841310"/>
          </p14:sldIdLst>
        </p14:section>
        <p14:section name="Appendix" id="{B533152D-8367-43E9-880E-89E15D64476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CF89D2-25D1-ED05-0C85-1F51E26B5570}" v="324" dt="2023-03-13T13:24:29.156"/>
    <p1510:client id="{A9BB189A-D2B1-4731-8B8F-A4055D2FAE21}" v="978" vWet="980" dt="2023-03-13T13:05:11.363"/>
    <p1510:client id="{F6DDC841-A44A-4CAF-9BC1-F395ABF46103}" v="37" dt="2023-03-13T13:21:16.7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69" autoAdjust="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grete, Maria (Titan Alpha)" userId="0a4ba534-701a-455c-bf6c-e730d0a01c09" providerId="ADAL" clId="{F6DDC841-A44A-4CAF-9BC1-F395ABF46103}"/>
    <pc:docChg chg="undo custSel modSld">
      <pc:chgData name="Negrete, Maria (Titan Alpha)" userId="0a4ba534-701a-455c-bf6c-e730d0a01c09" providerId="ADAL" clId="{F6DDC841-A44A-4CAF-9BC1-F395ABF46103}" dt="2023-03-13T14:36:36.734" v="155" actId="6549"/>
      <pc:docMkLst>
        <pc:docMk/>
      </pc:docMkLst>
      <pc:sldChg chg="modSp mod">
        <pc:chgData name="Negrete, Maria (Titan Alpha)" userId="0a4ba534-701a-455c-bf6c-e730d0a01c09" providerId="ADAL" clId="{F6DDC841-A44A-4CAF-9BC1-F395ABF46103}" dt="2023-03-13T14:11:00.166" v="137" actId="20577"/>
        <pc:sldMkLst>
          <pc:docMk/>
          <pc:sldMk cId="4120565422" sldId="257"/>
        </pc:sldMkLst>
        <pc:graphicFrameChg chg="modGraphic">
          <ac:chgData name="Negrete, Maria (Titan Alpha)" userId="0a4ba534-701a-455c-bf6c-e730d0a01c09" providerId="ADAL" clId="{F6DDC841-A44A-4CAF-9BC1-F395ABF46103}" dt="2023-03-13T14:11:00.166" v="137" actId="20577"/>
          <ac:graphicFrameMkLst>
            <pc:docMk/>
            <pc:sldMk cId="4120565422" sldId="257"/>
            <ac:graphicFrameMk id="7" creationId="{872EE588-0261-4597-9BCD-D1DBA24B22CA}"/>
          </ac:graphicFrameMkLst>
        </pc:graphicFrameChg>
      </pc:sldChg>
      <pc:sldChg chg="modSp mod">
        <pc:chgData name="Negrete, Maria (Titan Alpha)" userId="0a4ba534-701a-455c-bf6c-e730d0a01c09" providerId="ADAL" clId="{F6DDC841-A44A-4CAF-9BC1-F395ABF46103}" dt="2023-03-13T14:24:18.668" v="147" actId="6549"/>
        <pc:sldMkLst>
          <pc:docMk/>
          <pc:sldMk cId="592973682" sldId="258"/>
        </pc:sldMkLst>
        <pc:spChg chg="mod">
          <ac:chgData name="Negrete, Maria (Titan Alpha)" userId="0a4ba534-701a-455c-bf6c-e730d0a01c09" providerId="ADAL" clId="{F6DDC841-A44A-4CAF-9BC1-F395ABF46103}" dt="2023-03-13T14:24:18.668" v="147" actId="6549"/>
          <ac:spMkLst>
            <pc:docMk/>
            <pc:sldMk cId="592973682" sldId="258"/>
            <ac:spMk id="3" creationId="{A7B84B02-37E7-47F8-92E8-3189FA07A246}"/>
          </ac:spMkLst>
        </pc:spChg>
      </pc:sldChg>
      <pc:sldChg chg="modSp mod">
        <pc:chgData name="Negrete, Maria (Titan Alpha)" userId="0a4ba534-701a-455c-bf6c-e730d0a01c09" providerId="ADAL" clId="{F6DDC841-A44A-4CAF-9BC1-F395ABF46103}" dt="2023-03-13T14:33:01.412" v="154" actId="1076"/>
        <pc:sldMkLst>
          <pc:docMk/>
          <pc:sldMk cId="26198442" sldId="260"/>
        </pc:sldMkLst>
        <pc:spChg chg="mod">
          <ac:chgData name="Negrete, Maria (Titan Alpha)" userId="0a4ba534-701a-455c-bf6c-e730d0a01c09" providerId="ADAL" clId="{F6DDC841-A44A-4CAF-9BC1-F395ABF46103}" dt="2023-03-13T14:33:01.412" v="154" actId="1076"/>
          <ac:spMkLst>
            <pc:docMk/>
            <pc:sldMk cId="26198442" sldId="260"/>
            <ac:spMk id="3" creationId="{D268CA07-AF6A-4A46-8158-685894F98E33}"/>
          </ac:spMkLst>
        </pc:spChg>
      </pc:sldChg>
      <pc:sldChg chg="modSp mod">
        <pc:chgData name="Negrete, Maria (Titan Alpha)" userId="0a4ba534-701a-455c-bf6c-e730d0a01c09" providerId="ADAL" clId="{F6DDC841-A44A-4CAF-9BC1-F395ABF46103}" dt="2023-03-01T16:21:30.133" v="49"/>
        <pc:sldMkLst>
          <pc:docMk/>
          <pc:sldMk cId="2240003729" sldId="274"/>
        </pc:sldMkLst>
        <pc:spChg chg="mod">
          <ac:chgData name="Negrete, Maria (Titan Alpha)" userId="0a4ba534-701a-455c-bf6c-e730d0a01c09" providerId="ADAL" clId="{F6DDC841-A44A-4CAF-9BC1-F395ABF46103}" dt="2023-03-01T16:21:30.133" v="49"/>
          <ac:spMkLst>
            <pc:docMk/>
            <pc:sldMk cId="2240003729" sldId="274"/>
            <ac:spMk id="7" creationId="{788C140D-A3DA-406D-89E4-B35663EE3CFC}"/>
          </ac:spMkLst>
        </pc:spChg>
      </pc:sldChg>
      <pc:sldChg chg="modSp mod">
        <pc:chgData name="Negrete, Maria (Titan Alpha)" userId="0a4ba534-701a-455c-bf6c-e730d0a01c09" providerId="ADAL" clId="{F6DDC841-A44A-4CAF-9BC1-F395ABF46103}" dt="2023-03-06T15:22:06.316" v="112" actId="6549"/>
        <pc:sldMkLst>
          <pc:docMk/>
          <pc:sldMk cId="1948371787" sldId="280"/>
        </pc:sldMkLst>
        <pc:spChg chg="mod">
          <ac:chgData name="Negrete, Maria (Titan Alpha)" userId="0a4ba534-701a-455c-bf6c-e730d0a01c09" providerId="ADAL" clId="{F6DDC841-A44A-4CAF-9BC1-F395ABF46103}" dt="2023-03-06T15:22:06.316" v="112" actId="6549"/>
          <ac:spMkLst>
            <pc:docMk/>
            <pc:sldMk cId="1948371787" sldId="280"/>
            <ac:spMk id="3" creationId="{0AC7ECCA-8CA2-42E9-91D3-9B3E32530FF6}"/>
          </ac:spMkLst>
        </pc:spChg>
      </pc:sldChg>
      <pc:sldChg chg="modSp mod">
        <pc:chgData name="Negrete, Maria (Titan Alpha)" userId="0a4ba534-701a-455c-bf6c-e730d0a01c09" providerId="ADAL" clId="{F6DDC841-A44A-4CAF-9BC1-F395ABF46103}" dt="2023-03-06T15:20:54.954" v="105" actId="20577"/>
        <pc:sldMkLst>
          <pc:docMk/>
          <pc:sldMk cId="3993648177" sldId="282"/>
        </pc:sldMkLst>
        <pc:spChg chg="mod">
          <ac:chgData name="Negrete, Maria (Titan Alpha)" userId="0a4ba534-701a-455c-bf6c-e730d0a01c09" providerId="ADAL" clId="{F6DDC841-A44A-4CAF-9BC1-F395ABF46103}" dt="2023-03-01T16:22:35.679" v="50" actId="20577"/>
          <ac:spMkLst>
            <pc:docMk/>
            <pc:sldMk cId="3993648177" sldId="282"/>
            <ac:spMk id="2" creationId="{D7EC4F29-3BA2-466D-B131-92F97F793A93}"/>
          </ac:spMkLst>
        </pc:spChg>
        <pc:spChg chg="mod">
          <ac:chgData name="Negrete, Maria (Titan Alpha)" userId="0a4ba534-701a-455c-bf6c-e730d0a01c09" providerId="ADAL" clId="{F6DDC841-A44A-4CAF-9BC1-F395ABF46103}" dt="2023-03-06T15:20:54.954" v="105" actId="20577"/>
          <ac:spMkLst>
            <pc:docMk/>
            <pc:sldMk cId="3993648177" sldId="282"/>
            <ac:spMk id="3" creationId="{767621D6-A700-49A3-B56C-3FA5B416FCE2}"/>
          </ac:spMkLst>
        </pc:spChg>
      </pc:sldChg>
      <pc:sldChg chg="modSp mod">
        <pc:chgData name="Negrete, Maria (Titan Alpha)" userId="0a4ba534-701a-455c-bf6c-e730d0a01c09" providerId="ADAL" clId="{F6DDC841-A44A-4CAF-9BC1-F395ABF46103}" dt="2023-03-01T16:23:29.861" v="65" actId="20577"/>
        <pc:sldMkLst>
          <pc:docMk/>
          <pc:sldMk cId="975963436" sldId="285"/>
        </pc:sldMkLst>
        <pc:spChg chg="mod">
          <ac:chgData name="Negrete, Maria (Titan Alpha)" userId="0a4ba534-701a-455c-bf6c-e730d0a01c09" providerId="ADAL" clId="{F6DDC841-A44A-4CAF-9BC1-F395ABF46103}" dt="2023-03-01T16:23:29.861" v="65" actId="20577"/>
          <ac:spMkLst>
            <pc:docMk/>
            <pc:sldMk cId="975963436" sldId="285"/>
            <ac:spMk id="3" creationId="{53CB5957-0377-498A-B4FA-A6EFBB1F1955}"/>
          </ac:spMkLst>
        </pc:spChg>
      </pc:sldChg>
      <pc:sldChg chg="modSp mod">
        <pc:chgData name="Negrete, Maria (Titan Alpha)" userId="0a4ba534-701a-455c-bf6c-e730d0a01c09" providerId="ADAL" clId="{F6DDC841-A44A-4CAF-9BC1-F395ABF46103}" dt="2023-03-13T14:28:48.533" v="149" actId="20577"/>
        <pc:sldMkLst>
          <pc:docMk/>
          <pc:sldMk cId="968044900" sldId="289"/>
        </pc:sldMkLst>
        <pc:spChg chg="mod">
          <ac:chgData name="Negrete, Maria (Titan Alpha)" userId="0a4ba534-701a-455c-bf6c-e730d0a01c09" providerId="ADAL" clId="{F6DDC841-A44A-4CAF-9BC1-F395ABF46103}" dt="2023-03-13T14:28:48.533" v="149" actId="20577"/>
          <ac:spMkLst>
            <pc:docMk/>
            <pc:sldMk cId="968044900" sldId="289"/>
            <ac:spMk id="3" creationId="{92068DE4-BAA9-41C8-82F2-4932AC9535B0}"/>
          </ac:spMkLst>
        </pc:spChg>
      </pc:sldChg>
      <pc:sldChg chg="modSp mod">
        <pc:chgData name="Negrete, Maria (Titan Alpha)" userId="0a4ba534-701a-455c-bf6c-e730d0a01c09" providerId="ADAL" clId="{F6DDC841-A44A-4CAF-9BC1-F395ABF46103}" dt="2023-03-13T14:29:45.776" v="150" actId="20577"/>
        <pc:sldMkLst>
          <pc:docMk/>
          <pc:sldMk cId="3103794878" sldId="292"/>
        </pc:sldMkLst>
        <pc:spChg chg="mod">
          <ac:chgData name="Negrete, Maria (Titan Alpha)" userId="0a4ba534-701a-455c-bf6c-e730d0a01c09" providerId="ADAL" clId="{F6DDC841-A44A-4CAF-9BC1-F395ABF46103}" dt="2023-03-13T14:29:45.776" v="150" actId="20577"/>
          <ac:spMkLst>
            <pc:docMk/>
            <pc:sldMk cId="3103794878" sldId="292"/>
            <ac:spMk id="3" creationId="{F37C9D81-E25B-4022-8B6E-8239AB65CB0E}"/>
          </ac:spMkLst>
        </pc:spChg>
      </pc:sldChg>
      <pc:sldChg chg="modSp mod addCm delCm">
        <pc:chgData name="Negrete, Maria (Titan Alpha)" userId="0a4ba534-701a-455c-bf6c-e730d0a01c09" providerId="ADAL" clId="{F6DDC841-A44A-4CAF-9BC1-F395ABF46103}" dt="2023-03-13T13:05:03.616" v="133"/>
        <pc:sldMkLst>
          <pc:docMk/>
          <pc:sldMk cId="0" sldId="348"/>
        </pc:sldMkLst>
        <pc:spChg chg="mod">
          <ac:chgData name="Negrete, Maria (Titan Alpha)" userId="0a4ba534-701a-455c-bf6c-e730d0a01c09" providerId="ADAL" clId="{F6DDC841-A44A-4CAF-9BC1-F395ABF46103}" dt="2023-03-06T15:21:40.600" v="108" actId="114"/>
          <ac:spMkLst>
            <pc:docMk/>
            <pc:sldMk cId="0" sldId="348"/>
            <ac:spMk id="16387" creationId="{6047D568-7030-4CF4-B8F5-738405C13918}"/>
          </ac:spMkLst>
        </pc:spChg>
      </pc:sldChg>
      <pc:sldChg chg="modSp mod">
        <pc:chgData name="Negrete, Maria (Titan Alpha)" userId="0a4ba534-701a-455c-bf6c-e730d0a01c09" providerId="ADAL" clId="{F6DDC841-A44A-4CAF-9BC1-F395ABF46103}" dt="2023-03-13T14:26:15.302" v="148" actId="6549"/>
        <pc:sldMkLst>
          <pc:docMk/>
          <pc:sldMk cId="3491146997" sldId="838841271"/>
        </pc:sldMkLst>
        <pc:spChg chg="mod">
          <ac:chgData name="Negrete, Maria (Titan Alpha)" userId="0a4ba534-701a-455c-bf6c-e730d0a01c09" providerId="ADAL" clId="{F6DDC841-A44A-4CAF-9BC1-F395ABF46103}" dt="2023-03-13T12:45:36.840" v="129" actId="1076"/>
          <ac:spMkLst>
            <pc:docMk/>
            <pc:sldMk cId="3491146997" sldId="838841271"/>
            <ac:spMk id="3" creationId="{066C2A69-D1D6-4906-A06B-36EC73642A6D}"/>
          </ac:spMkLst>
        </pc:spChg>
        <pc:spChg chg="mod">
          <ac:chgData name="Negrete, Maria (Titan Alpha)" userId="0a4ba534-701a-455c-bf6c-e730d0a01c09" providerId="ADAL" clId="{F6DDC841-A44A-4CAF-9BC1-F395ABF46103}" dt="2023-03-13T12:45:32.274" v="127" actId="1582"/>
          <ac:spMkLst>
            <pc:docMk/>
            <pc:sldMk cId="3491146997" sldId="838841271"/>
            <ac:spMk id="6" creationId="{8AEE8298-F633-4B66-93D6-C2EB42A322E3}"/>
          </ac:spMkLst>
        </pc:spChg>
        <pc:graphicFrameChg chg="modGraphic">
          <ac:chgData name="Negrete, Maria (Titan Alpha)" userId="0a4ba534-701a-455c-bf6c-e730d0a01c09" providerId="ADAL" clId="{F6DDC841-A44A-4CAF-9BC1-F395ABF46103}" dt="2023-03-13T14:26:15.302" v="148" actId="6549"/>
          <ac:graphicFrameMkLst>
            <pc:docMk/>
            <pc:sldMk cId="3491146997" sldId="838841271"/>
            <ac:graphicFrameMk id="8" creationId="{D73BE7DA-46BF-4C43-B474-70E8AF0E426C}"/>
          </ac:graphicFrameMkLst>
        </pc:graphicFrameChg>
        <pc:cxnChg chg="mod">
          <ac:chgData name="Negrete, Maria (Titan Alpha)" userId="0a4ba534-701a-455c-bf6c-e730d0a01c09" providerId="ADAL" clId="{F6DDC841-A44A-4CAF-9BC1-F395ABF46103}" dt="2023-03-13T12:45:09.489" v="125" actId="14100"/>
          <ac:cxnSpMkLst>
            <pc:docMk/>
            <pc:sldMk cId="3491146997" sldId="838841271"/>
            <ac:cxnSpMk id="9" creationId="{D0B9EEA4-51A1-4EE5-BDF0-88A00F434BA2}"/>
          </ac:cxnSpMkLst>
        </pc:cxnChg>
      </pc:sldChg>
      <pc:sldChg chg="modSp mod modNotesTx">
        <pc:chgData name="Negrete, Maria (Titan Alpha)" userId="0a4ba534-701a-455c-bf6c-e730d0a01c09" providerId="ADAL" clId="{F6DDC841-A44A-4CAF-9BC1-F395ABF46103}" dt="2023-03-06T15:21:48.668" v="109" actId="20577"/>
        <pc:sldMkLst>
          <pc:docMk/>
          <pc:sldMk cId="2463715065" sldId="838841311"/>
        </pc:sldMkLst>
        <pc:spChg chg="mod">
          <ac:chgData name="Negrete, Maria (Titan Alpha)" userId="0a4ba534-701a-455c-bf6c-e730d0a01c09" providerId="ADAL" clId="{F6DDC841-A44A-4CAF-9BC1-F395ABF46103}" dt="2023-03-06T15:21:48.668" v="109" actId="20577"/>
          <ac:spMkLst>
            <pc:docMk/>
            <pc:sldMk cId="2463715065" sldId="838841311"/>
            <ac:spMk id="16387" creationId="{6047D568-7030-4CF4-B8F5-738405C13918}"/>
          </ac:spMkLst>
        </pc:spChg>
      </pc:sldChg>
      <pc:sldChg chg="modSp mod">
        <pc:chgData name="Negrete, Maria (Titan Alpha)" userId="0a4ba534-701a-455c-bf6c-e730d0a01c09" providerId="ADAL" clId="{F6DDC841-A44A-4CAF-9BC1-F395ABF46103}" dt="2023-03-01T13:11:29.085" v="23" actId="1035"/>
        <pc:sldMkLst>
          <pc:docMk/>
          <pc:sldMk cId="2101627390" sldId="838841315"/>
        </pc:sldMkLst>
        <pc:spChg chg="mod">
          <ac:chgData name="Negrete, Maria (Titan Alpha)" userId="0a4ba534-701a-455c-bf6c-e730d0a01c09" providerId="ADAL" clId="{F6DDC841-A44A-4CAF-9BC1-F395ABF46103}" dt="2023-03-01T13:11:29.085" v="23" actId="1035"/>
          <ac:spMkLst>
            <pc:docMk/>
            <pc:sldMk cId="2101627390" sldId="838841315"/>
            <ac:spMk id="3" creationId="{6EEEA600-8C9E-4876-BD96-08B13367E2DB}"/>
          </ac:spMkLst>
        </pc:spChg>
      </pc:sldChg>
      <pc:sldChg chg="modSp mod">
        <pc:chgData name="Negrete, Maria (Titan Alpha)" userId="0a4ba534-701a-455c-bf6c-e730d0a01c09" providerId="ADAL" clId="{F6DDC841-A44A-4CAF-9BC1-F395ABF46103}" dt="2023-03-01T13:13:52.307" v="36" actId="20577"/>
        <pc:sldMkLst>
          <pc:docMk/>
          <pc:sldMk cId="1972496357" sldId="838841322"/>
        </pc:sldMkLst>
        <pc:spChg chg="mod">
          <ac:chgData name="Negrete, Maria (Titan Alpha)" userId="0a4ba534-701a-455c-bf6c-e730d0a01c09" providerId="ADAL" clId="{F6DDC841-A44A-4CAF-9BC1-F395ABF46103}" dt="2023-03-01T13:13:52.307" v="36" actId="20577"/>
          <ac:spMkLst>
            <pc:docMk/>
            <pc:sldMk cId="1972496357" sldId="838841322"/>
            <ac:spMk id="2" creationId="{3E11FDC9-E192-4001-BF2C-1F42E648E790}"/>
          </ac:spMkLst>
        </pc:spChg>
      </pc:sldChg>
      <pc:sldChg chg="modSp mod">
        <pc:chgData name="Negrete, Maria (Titan Alpha)" userId="0a4ba534-701a-455c-bf6c-e730d0a01c09" providerId="ADAL" clId="{F6DDC841-A44A-4CAF-9BC1-F395ABF46103}" dt="2023-03-13T14:19:47.871" v="145" actId="113"/>
        <pc:sldMkLst>
          <pc:docMk/>
          <pc:sldMk cId="1879045922" sldId="838841324"/>
        </pc:sldMkLst>
        <pc:spChg chg="mod">
          <ac:chgData name="Negrete, Maria (Titan Alpha)" userId="0a4ba534-701a-455c-bf6c-e730d0a01c09" providerId="ADAL" clId="{F6DDC841-A44A-4CAF-9BC1-F395ABF46103}" dt="2023-03-13T14:19:47.871" v="145" actId="113"/>
          <ac:spMkLst>
            <pc:docMk/>
            <pc:sldMk cId="1879045922" sldId="838841324"/>
            <ac:spMk id="3" creationId="{0324081F-014F-4EAC-A6F1-D07E35B1F3B7}"/>
          </ac:spMkLst>
        </pc:spChg>
      </pc:sldChg>
      <pc:sldChg chg="modSp mod">
        <pc:chgData name="Negrete, Maria (Titan Alpha)" userId="0a4ba534-701a-455c-bf6c-e730d0a01c09" providerId="ADAL" clId="{F6DDC841-A44A-4CAF-9BC1-F395ABF46103}" dt="2023-03-13T14:14:31.047" v="139" actId="20577"/>
        <pc:sldMkLst>
          <pc:docMk/>
          <pc:sldMk cId="206297872" sldId="838841326"/>
        </pc:sldMkLst>
        <pc:graphicFrameChg chg="modGraphic">
          <ac:chgData name="Negrete, Maria (Titan Alpha)" userId="0a4ba534-701a-455c-bf6c-e730d0a01c09" providerId="ADAL" clId="{F6DDC841-A44A-4CAF-9BC1-F395ABF46103}" dt="2023-03-13T14:14:31.047" v="139" actId="20577"/>
          <ac:graphicFrameMkLst>
            <pc:docMk/>
            <pc:sldMk cId="206297872" sldId="838841326"/>
            <ac:graphicFrameMk id="6" creationId="{23426CB8-C0A4-4F29-BD5A-3AD1C06B24D4}"/>
          </ac:graphicFrameMkLst>
        </pc:graphicFrameChg>
      </pc:sldChg>
      <pc:sldChg chg="modSp mod">
        <pc:chgData name="Negrete, Maria (Titan Alpha)" userId="0a4ba534-701a-455c-bf6c-e730d0a01c09" providerId="ADAL" clId="{F6DDC841-A44A-4CAF-9BC1-F395ABF46103}" dt="2023-03-01T13:13:16.796" v="35" actId="20577"/>
        <pc:sldMkLst>
          <pc:docMk/>
          <pc:sldMk cId="982765075" sldId="838841333"/>
        </pc:sldMkLst>
        <pc:spChg chg="mod">
          <ac:chgData name="Negrete, Maria (Titan Alpha)" userId="0a4ba534-701a-455c-bf6c-e730d0a01c09" providerId="ADAL" clId="{F6DDC841-A44A-4CAF-9BC1-F395ABF46103}" dt="2023-03-01T13:13:16.796" v="35" actId="20577"/>
          <ac:spMkLst>
            <pc:docMk/>
            <pc:sldMk cId="982765075" sldId="838841333"/>
            <ac:spMk id="2" creationId="{1329D4C1-06FB-4F76-8FB7-334A9D9E3970}"/>
          </ac:spMkLst>
        </pc:spChg>
      </pc:sldChg>
      <pc:sldChg chg="modSp mod">
        <pc:chgData name="Negrete, Maria (Titan Alpha)" userId="0a4ba534-701a-455c-bf6c-e730d0a01c09" providerId="ADAL" clId="{F6DDC841-A44A-4CAF-9BC1-F395ABF46103}" dt="2023-03-01T13:14:09.277" v="37" actId="6549"/>
        <pc:sldMkLst>
          <pc:docMk/>
          <pc:sldMk cId="321540503" sldId="838841334"/>
        </pc:sldMkLst>
        <pc:spChg chg="mod">
          <ac:chgData name="Negrete, Maria (Titan Alpha)" userId="0a4ba534-701a-455c-bf6c-e730d0a01c09" providerId="ADAL" clId="{F6DDC841-A44A-4CAF-9BC1-F395ABF46103}" dt="2023-03-01T13:14:09.277" v="37" actId="6549"/>
          <ac:spMkLst>
            <pc:docMk/>
            <pc:sldMk cId="321540503" sldId="838841334"/>
            <ac:spMk id="2" creationId="{53524C2F-39DD-4374-AC09-517960C89E4D}"/>
          </ac:spMkLst>
        </pc:spChg>
      </pc:sldChg>
      <pc:sldChg chg="modSp mod">
        <pc:chgData name="Negrete, Maria (Titan Alpha)" userId="0a4ba534-701a-455c-bf6c-e730d0a01c09" providerId="ADAL" clId="{F6DDC841-A44A-4CAF-9BC1-F395ABF46103}" dt="2023-03-13T12:42:58.399" v="121" actId="20577"/>
        <pc:sldMkLst>
          <pc:docMk/>
          <pc:sldMk cId="1988526871" sldId="838841335"/>
        </pc:sldMkLst>
        <pc:graphicFrameChg chg="modGraphic">
          <ac:chgData name="Negrete, Maria (Titan Alpha)" userId="0a4ba534-701a-455c-bf6c-e730d0a01c09" providerId="ADAL" clId="{F6DDC841-A44A-4CAF-9BC1-F395ABF46103}" dt="2023-03-13T12:42:58.399" v="121" actId="20577"/>
          <ac:graphicFrameMkLst>
            <pc:docMk/>
            <pc:sldMk cId="1988526871" sldId="838841335"/>
            <ac:graphicFrameMk id="5" creationId="{E473637C-8032-4419-B0BC-4BF0EF926EEA}"/>
          </ac:graphicFrameMkLst>
        </pc:graphicFrameChg>
      </pc:sldChg>
      <pc:sldChg chg="modSp mod">
        <pc:chgData name="Negrete, Maria (Titan Alpha)" userId="0a4ba534-701a-455c-bf6c-e730d0a01c09" providerId="ADAL" clId="{F6DDC841-A44A-4CAF-9BC1-F395ABF46103}" dt="2023-03-01T16:25:47.602" v="99" actId="14100"/>
        <pc:sldMkLst>
          <pc:docMk/>
          <pc:sldMk cId="2802099252" sldId="838841336"/>
        </pc:sldMkLst>
        <pc:spChg chg="mod">
          <ac:chgData name="Negrete, Maria (Titan Alpha)" userId="0a4ba534-701a-455c-bf6c-e730d0a01c09" providerId="ADAL" clId="{F6DDC841-A44A-4CAF-9BC1-F395ABF46103}" dt="2023-03-01T16:25:47.602" v="99" actId="14100"/>
          <ac:spMkLst>
            <pc:docMk/>
            <pc:sldMk cId="2802099252" sldId="838841336"/>
            <ac:spMk id="3" creationId="{53CB5957-0377-498A-B4FA-A6EFBB1F1955}"/>
          </ac:spMkLst>
        </pc:spChg>
      </pc:sldChg>
      <pc:sldChg chg="modSp mod">
        <pc:chgData name="Negrete, Maria (Titan Alpha)" userId="0a4ba534-701a-455c-bf6c-e730d0a01c09" providerId="ADAL" clId="{F6DDC841-A44A-4CAF-9BC1-F395ABF46103}" dt="2023-03-13T14:32:34.808" v="152" actId="14100"/>
        <pc:sldMkLst>
          <pc:docMk/>
          <pc:sldMk cId="717978663" sldId="838841339"/>
        </pc:sldMkLst>
        <pc:picChg chg="mod">
          <ac:chgData name="Negrete, Maria (Titan Alpha)" userId="0a4ba534-701a-455c-bf6c-e730d0a01c09" providerId="ADAL" clId="{F6DDC841-A44A-4CAF-9BC1-F395ABF46103}" dt="2023-03-13T14:32:34.808" v="152" actId="14100"/>
          <ac:picMkLst>
            <pc:docMk/>
            <pc:sldMk cId="717978663" sldId="838841339"/>
            <ac:picMk id="6" creationId="{FBE7DBD7-D022-487A-F03B-A8B9DAE3377D}"/>
          </ac:picMkLst>
        </pc:picChg>
      </pc:sldChg>
      <pc:sldChg chg="modSp mod">
        <pc:chgData name="Negrete, Maria (Titan Alpha)" userId="0a4ba534-701a-455c-bf6c-e730d0a01c09" providerId="ADAL" clId="{F6DDC841-A44A-4CAF-9BC1-F395ABF46103}" dt="2023-03-13T14:36:36.734" v="155" actId="6549"/>
        <pc:sldMkLst>
          <pc:docMk/>
          <pc:sldMk cId="3513874220" sldId="838841341"/>
        </pc:sldMkLst>
        <pc:spChg chg="mod">
          <ac:chgData name="Negrete, Maria (Titan Alpha)" userId="0a4ba534-701a-455c-bf6c-e730d0a01c09" providerId="ADAL" clId="{F6DDC841-A44A-4CAF-9BC1-F395ABF46103}" dt="2023-03-13T14:36:36.734" v="155" actId="6549"/>
          <ac:spMkLst>
            <pc:docMk/>
            <pc:sldMk cId="3513874220" sldId="838841341"/>
            <ac:spMk id="3" creationId="{51D94C22-A83E-E13A-2EE8-117D7E048F55}"/>
          </ac:spMkLst>
        </pc:spChg>
      </pc:sldChg>
      <pc:sldChg chg="modSp mod">
        <pc:chgData name="Negrete, Maria (Titan Alpha)" userId="0a4ba534-701a-455c-bf6c-e730d0a01c09" providerId="ADAL" clId="{F6DDC841-A44A-4CAF-9BC1-F395ABF46103}" dt="2023-03-13T14:13:26.272" v="138" actId="20577"/>
        <pc:sldMkLst>
          <pc:docMk/>
          <pc:sldMk cId="800385336" sldId="838841342"/>
        </pc:sldMkLst>
        <pc:spChg chg="mod">
          <ac:chgData name="Negrete, Maria (Titan Alpha)" userId="0a4ba534-701a-455c-bf6c-e730d0a01c09" providerId="ADAL" clId="{F6DDC841-A44A-4CAF-9BC1-F395ABF46103}" dt="2023-03-13T14:13:26.272" v="138" actId="20577"/>
          <ac:spMkLst>
            <pc:docMk/>
            <pc:sldMk cId="800385336" sldId="838841342"/>
            <ac:spMk id="3" creationId="{A4D293E5-517E-42F6-FEE2-180717472461}"/>
          </ac:spMkLst>
        </pc:spChg>
      </pc:sldChg>
      <pc:sldChg chg="modSp mod">
        <pc:chgData name="Negrete, Maria (Titan Alpha)" userId="0a4ba534-701a-455c-bf6c-e730d0a01c09" providerId="ADAL" clId="{F6DDC841-A44A-4CAF-9BC1-F395ABF46103}" dt="2023-03-13T14:20:45.059" v="146" actId="1076"/>
        <pc:sldMkLst>
          <pc:docMk/>
          <pc:sldMk cId="803998748" sldId="838841343"/>
        </pc:sldMkLst>
        <pc:spChg chg="mod">
          <ac:chgData name="Negrete, Maria (Titan Alpha)" userId="0a4ba534-701a-455c-bf6c-e730d0a01c09" providerId="ADAL" clId="{F6DDC841-A44A-4CAF-9BC1-F395ABF46103}" dt="2023-03-13T14:20:45.059" v="146" actId="1076"/>
          <ac:spMkLst>
            <pc:docMk/>
            <pc:sldMk cId="803998748" sldId="838841343"/>
            <ac:spMk id="3" creationId="{59492A64-3CDF-2844-B2F2-C757F88EBC1B}"/>
          </ac:spMkLst>
        </pc:spChg>
      </pc:sldChg>
    </pc:docChg>
  </pc:docChgLst>
  <pc:docChgLst>
    <pc:chgData name="Points, Kari" userId="S::kari.points@va.gov::d3d08481-d9e7-4f0b-8844-65fed6518596" providerId="AD" clId="Web-{88355F66-BCDA-8511-4CAD-ECFCA4880947}"/>
    <pc:docChg chg="delSld modSld modSection">
      <pc:chgData name="Points, Kari" userId="S::kari.points@va.gov::d3d08481-d9e7-4f0b-8844-65fed6518596" providerId="AD" clId="Web-{88355F66-BCDA-8511-4CAD-ECFCA4880947}" dt="2023-03-05T15:24:49.304" v="269" actId="20577"/>
      <pc:docMkLst>
        <pc:docMk/>
      </pc:docMkLst>
      <pc:sldChg chg="modSp">
        <pc:chgData name="Points, Kari" userId="S::kari.points@va.gov::d3d08481-d9e7-4f0b-8844-65fed6518596" providerId="AD" clId="Web-{88355F66-BCDA-8511-4CAD-ECFCA4880947}" dt="2023-03-05T15:24:49.304" v="269" actId="20577"/>
        <pc:sldMkLst>
          <pc:docMk/>
          <pc:sldMk cId="26198442" sldId="260"/>
        </pc:sldMkLst>
        <pc:spChg chg="mod">
          <ac:chgData name="Points, Kari" userId="S::kari.points@va.gov::d3d08481-d9e7-4f0b-8844-65fed6518596" providerId="AD" clId="Web-{88355F66-BCDA-8511-4CAD-ECFCA4880947}" dt="2023-03-05T15:20:47.113" v="67" actId="20577"/>
          <ac:spMkLst>
            <pc:docMk/>
            <pc:sldMk cId="26198442" sldId="260"/>
            <ac:spMk id="2" creationId="{48ADFE2B-EBF7-4EFB-862D-5E1B2E49B806}"/>
          </ac:spMkLst>
        </pc:spChg>
        <pc:spChg chg="mod">
          <ac:chgData name="Points, Kari" userId="S::kari.points@va.gov::d3d08481-d9e7-4f0b-8844-65fed6518596" providerId="AD" clId="Web-{88355F66-BCDA-8511-4CAD-ECFCA4880947}" dt="2023-03-05T15:24:49.304" v="269" actId="20577"/>
          <ac:spMkLst>
            <pc:docMk/>
            <pc:sldMk cId="26198442" sldId="260"/>
            <ac:spMk id="3" creationId="{D268CA07-AF6A-4A46-8158-685894F98E33}"/>
          </ac:spMkLst>
        </pc:spChg>
      </pc:sldChg>
      <pc:sldChg chg="modSp">
        <pc:chgData name="Points, Kari" userId="S::kari.points@va.gov::d3d08481-d9e7-4f0b-8844-65fed6518596" providerId="AD" clId="Web-{88355F66-BCDA-8511-4CAD-ECFCA4880947}" dt="2023-03-05T15:18:03.502" v="31" actId="20577"/>
        <pc:sldMkLst>
          <pc:docMk/>
          <pc:sldMk cId="3993648177" sldId="282"/>
        </pc:sldMkLst>
        <pc:spChg chg="mod">
          <ac:chgData name="Points, Kari" userId="S::kari.points@va.gov::d3d08481-d9e7-4f0b-8844-65fed6518596" providerId="AD" clId="Web-{88355F66-BCDA-8511-4CAD-ECFCA4880947}" dt="2023-03-05T15:18:03.502" v="31" actId="20577"/>
          <ac:spMkLst>
            <pc:docMk/>
            <pc:sldMk cId="3993648177" sldId="282"/>
            <ac:spMk id="3" creationId="{767621D6-A700-49A3-B56C-3FA5B416FCE2}"/>
          </ac:spMkLst>
        </pc:spChg>
      </pc:sldChg>
      <pc:sldChg chg="modSp">
        <pc:chgData name="Points, Kari" userId="S::kari.points@va.gov::d3d08481-d9e7-4f0b-8844-65fed6518596" providerId="AD" clId="Web-{88355F66-BCDA-8511-4CAD-ECFCA4880947}" dt="2023-03-05T15:19:10.549" v="39" actId="20577"/>
        <pc:sldMkLst>
          <pc:docMk/>
          <pc:sldMk cId="975963436" sldId="285"/>
        </pc:sldMkLst>
        <pc:spChg chg="mod">
          <ac:chgData name="Points, Kari" userId="S::kari.points@va.gov::d3d08481-d9e7-4f0b-8844-65fed6518596" providerId="AD" clId="Web-{88355F66-BCDA-8511-4CAD-ECFCA4880947}" dt="2023-03-05T15:19:10.549" v="39" actId="20577"/>
          <ac:spMkLst>
            <pc:docMk/>
            <pc:sldMk cId="975963436" sldId="285"/>
            <ac:spMk id="3" creationId="{53CB5957-0377-498A-B4FA-A6EFBB1F1955}"/>
          </ac:spMkLst>
        </pc:spChg>
      </pc:sldChg>
      <pc:sldChg chg="modSp">
        <pc:chgData name="Points, Kari" userId="S::kari.points@va.gov::d3d08481-d9e7-4f0b-8844-65fed6518596" providerId="AD" clId="Web-{88355F66-BCDA-8511-4CAD-ECFCA4880947}" dt="2023-03-05T15:20:14.675" v="62" actId="20577"/>
        <pc:sldMkLst>
          <pc:docMk/>
          <pc:sldMk cId="3103794878" sldId="292"/>
        </pc:sldMkLst>
        <pc:spChg chg="mod">
          <ac:chgData name="Points, Kari" userId="S::kari.points@va.gov::d3d08481-d9e7-4f0b-8844-65fed6518596" providerId="AD" clId="Web-{88355F66-BCDA-8511-4CAD-ECFCA4880947}" dt="2023-03-05T15:20:14.675" v="62" actId="20577"/>
          <ac:spMkLst>
            <pc:docMk/>
            <pc:sldMk cId="3103794878" sldId="292"/>
            <ac:spMk id="3" creationId="{F37C9D81-E25B-4022-8B6E-8239AB65CB0E}"/>
          </ac:spMkLst>
        </pc:spChg>
      </pc:sldChg>
      <pc:sldChg chg="modSp del">
        <pc:chgData name="Points, Kari" userId="S::kari.points@va.gov::d3d08481-d9e7-4f0b-8844-65fed6518596" providerId="AD" clId="Web-{88355F66-BCDA-8511-4CAD-ECFCA4880947}" dt="2023-03-05T15:16:56.438" v="10"/>
        <pc:sldMkLst>
          <pc:docMk/>
          <pc:sldMk cId="2802099252" sldId="838841336"/>
        </pc:sldMkLst>
        <pc:spChg chg="mod">
          <ac:chgData name="Points, Kari" userId="S::kari.points@va.gov::d3d08481-d9e7-4f0b-8844-65fed6518596" providerId="AD" clId="Web-{88355F66-BCDA-8511-4CAD-ECFCA4880947}" dt="2023-03-05T15:16:30.594" v="9" actId="20577"/>
          <ac:spMkLst>
            <pc:docMk/>
            <pc:sldMk cId="2802099252" sldId="838841336"/>
            <ac:spMk id="3" creationId="{53CB5957-0377-498A-B4FA-A6EFBB1F1955}"/>
          </ac:spMkLst>
        </pc:spChg>
      </pc:sldChg>
    </pc:docChg>
  </pc:docChgLst>
  <pc:docChgLst>
    <pc:chgData name="Berlow, Jason" userId="2ca71643-eff5-4d67-b81e-ca1c03f44d5e" providerId="ADAL" clId="{A9BB189A-D2B1-4731-8B8F-A4055D2FAE21}"/>
    <pc:docChg chg="undo custSel addSld delSld modSld sldOrd modSection">
      <pc:chgData name="Berlow, Jason" userId="2ca71643-eff5-4d67-b81e-ca1c03f44d5e" providerId="ADAL" clId="{A9BB189A-D2B1-4731-8B8F-A4055D2FAE21}" dt="2023-03-13T13:02:54.354" v="3886" actId="113"/>
      <pc:docMkLst>
        <pc:docMk/>
      </pc:docMkLst>
      <pc:sldChg chg="modSp mod">
        <pc:chgData name="Berlow, Jason" userId="2ca71643-eff5-4d67-b81e-ca1c03f44d5e" providerId="ADAL" clId="{A9BB189A-D2B1-4731-8B8F-A4055D2FAE21}" dt="2023-03-11T18:32:46.324" v="2924"/>
        <pc:sldMkLst>
          <pc:docMk/>
          <pc:sldMk cId="4120565422" sldId="257"/>
        </pc:sldMkLst>
        <pc:graphicFrameChg chg="mod modGraphic">
          <ac:chgData name="Berlow, Jason" userId="2ca71643-eff5-4d67-b81e-ca1c03f44d5e" providerId="ADAL" clId="{A9BB189A-D2B1-4731-8B8F-A4055D2FAE21}" dt="2023-03-11T18:32:46.324" v="2924"/>
          <ac:graphicFrameMkLst>
            <pc:docMk/>
            <pc:sldMk cId="4120565422" sldId="257"/>
            <ac:graphicFrameMk id="7" creationId="{872EE588-0261-4597-9BCD-D1DBA24B22CA}"/>
          </ac:graphicFrameMkLst>
        </pc:graphicFrameChg>
      </pc:sldChg>
      <pc:sldChg chg="modSp mod ord">
        <pc:chgData name="Berlow, Jason" userId="2ca71643-eff5-4d67-b81e-ca1c03f44d5e" providerId="ADAL" clId="{A9BB189A-D2B1-4731-8B8F-A4055D2FAE21}" dt="2023-03-13T12:46:21.271" v="2962"/>
        <pc:sldMkLst>
          <pc:docMk/>
          <pc:sldMk cId="592973682" sldId="258"/>
        </pc:sldMkLst>
        <pc:spChg chg="mod">
          <ac:chgData name="Berlow, Jason" userId="2ca71643-eff5-4d67-b81e-ca1c03f44d5e" providerId="ADAL" clId="{A9BB189A-D2B1-4731-8B8F-A4055D2FAE21}" dt="2023-03-11T18:30:29.390" v="2923" actId="2"/>
          <ac:spMkLst>
            <pc:docMk/>
            <pc:sldMk cId="592973682" sldId="258"/>
            <ac:spMk id="3" creationId="{A7B84B02-37E7-47F8-92E8-3189FA07A246}"/>
          </ac:spMkLst>
        </pc:spChg>
      </pc:sldChg>
      <pc:sldChg chg="modSp mod ord">
        <pc:chgData name="Berlow, Jason" userId="2ca71643-eff5-4d67-b81e-ca1c03f44d5e" providerId="ADAL" clId="{A9BB189A-D2B1-4731-8B8F-A4055D2FAE21}" dt="2023-03-11T18:06:40.126" v="2650" actId="113"/>
        <pc:sldMkLst>
          <pc:docMk/>
          <pc:sldMk cId="26198442" sldId="260"/>
        </pc:sldMkLst>
        <pc:spChg chg="mod">
          <ac:chgData name="Berlow, Jason" userId="2ca71643-eff5-4d67-b81e-ca1c03f44d5e" providerId="ADAL" clId="{A9BB189A-D2B1-4731-8B8F-A4055D2FAE21}" dt="2023-03-11T18:06:40.126" v="2650" actId="113"/>
          <ac:spMkLst>
            <pc:docMk/>
            <pc:sldMk cId="26198442" sldId="260"/>
            <ac:spMk id="3" creationId="{D268CA07-AF6A-4A46-8158-685894F98E33}"/>
          </ac:spMkLst>
        </pc:spChg>
      </pc:sldChg>
      <pc:sldChg chg="modSp mod">
        <pc:chgData name="Berlow, Jason" userId="2ca71643-eff5-4d67-b81e-ca1c03f44d5e" providerId="ADAL" clId="{A9BB189A-D2B1-4731-8B8F-A4055D2FAE21}" dt="2023-03-11T16:17:09.875" v="1642" actId="20577"/>
        <pc:sldMkLst>
          <pc:docMk/>
          <pc:sldMk cId="2240003729" sldId="274"/>
        </pc:sldMkLst>
        <pc:spChg chg="mod">
          <ac:chgData name="Berlow, Jason" userId="2ca71643-eff5-4d67-b81e-ca1c03f44d5e" providerId="ADAL" clId="{A9BB189A-D2B1-4731-8B8F-A4055D2FAE21}" dt="2023-03-11T16:17:09.875" v="1642" actId="20577"/>
          <ac:spMkLst>
            <pc:docMk/>
            <pc:sldMk cId="2240003729" sldId="274"/>
            <ac:spMk id="3" creationId="{55C8F484-6B8B-49B7-BAA2-C5FBA584D1C0}"/>
          </ac:spMkLst>
        </pc:spChg>
        <pc:spChg chg="mod">
          <ac:chgData name="Berlow, Jason" userId="2ca71643-eff5-4d67-b81e-ca1c03f44d5e" providerId="ADAL" clId="{A9BB189A-D2B1-4731-8B8F-A4055D2FAE21}" dt="2023-03-11T16:17:01.071" v="1626" actId="20577"/>
          <ac:spMkLst>
            <pc:docMk/>
            <pc:sldMk cId="2240003729" sldId="274"/>
            <ac:spMk id="7" creationId="{788C140D-A3DA-406D-89E4-B35663EE3CFC}"/>
          </ac:spMkLst>
        </pc:spChg>
      </pc:sldChg>
      <pc:sldChg chg="addSp modSp mod ord">
        <pc:chgData name="Berlow, Jason" userId="2ca71643-eff5-4d67-b81e-ca1c03f44d5e" providerId="ADAL" clId="{A9BB189A-D2B1-4731-8B8F-A4055D2FAE21}" dt="2023-03-10T19:49:37.622" v="1531" actId="20577"/>
        <pc:sldMkLst>
          <pc:docMk/>
          <pc:sldMk cId="123656697" sldId="276"/>
        </pc:sldMkLst>
        <pc:spChg chg="add mod">
          <ac:chgData name="Berlow, Jason" userId="2ca71643-eff5-4d67-b81e-ca1c03f44d5e" providerId="ADAL" clId="{A9BB189A-D2B1-4731-8B8F-A4055D2FAE21}" dt="2023-03-10T19:49:37.622" v="1531" actId="20577"/>
          <ac:spMkLst>
            <pc:docMk/>
            <pc:sldMk cId="123656697" sldId="276"/>
            <ac:spMk id="3" creationId="{BFF4CF55-DD4B-8465-6EA2-5C5F1BE14610}"/>
          </ac:spMkLst>
        </pc:spChg>
        <pc:picChg chg="mod">
          <ac:chgData name="Berlow, Jason" userId="2ca71643-eff5-4d67-b81e-ca1c03f44d5e" providerId="ADAL" clId="{A9BB189A-D2B1-4731-8B8F-A4055D2FAE21}" dt="2023-03-01T00:52:10.549" v="793" actId="1076"/>
          <ac:picMkLst>
            <pc:docMk/>
            <pc:sldMk cId="123656697" sldId="276"/>
            <ac:picMk id="2" creationId="{4A81CF75-CEEC-43E8-B6CF-6D25D9510C1B}"/>
          </ac:picMkLst>
        </pc:picChg>
      </pc:sldChg>
      <pc:sldChg chg="addSp modSp mod ord">
        <pc:chgData name="Berlow, Jason" userId="2ca71643-eff5-4d67-b81e-ca1c03f44d5e" providerId="ADAL" clId="{A9BB189A-D2B1-4731-8B8F-A4055D2FAE21}" dt="2023-03-10T19:50:04.676" v="1535" actId="1076"/>
        <pc:sldMkLst>
          <pc:docMk/>
          <pc:sldMk cId="207807121" sldId="277"/>
        </pc:sldMkLst>
        <pc:spChg chg="add mod">
          <ac:chgData name="Berlow, Jason" userId="2ca71643-eff5-4d67-b81e-ca1c03f44d5e" providerId="ADAL" clId="{A9BB189A-D2B1-4731-8B8F-A4055D2FAE21}" dt="2023-03-10T19:50:04.676" v="1535" actId="1076"/>
          <ac:spMkLst>
            <pc:docMk/>
            <pc:sldMk cId="207807121" sldId="277"/>
            <ac:spMk id="4" creationId="{5A6A5407-5A1F-E12F-F0EA-38147BD72ECA}"/>
          </ac:spMkLst>
        </pc:spChg>
        <pc:picChg chg="mod">
          <ac:chgData name="Berlow, Jason" userId="2ca71643-eff5-4d67-b81e-ca1c03f44d5e" providerId="ADAL" clId="{A9BB189A-D2B1-4731-8B8F-A4055D2FAE21}" dt="2023-03-01T00:52:26.408" v="795" actId="1076"/>
          <ac:picMkLst>
            <pc:docMk/>
            <pc:sldMk cId="207807121" sldId="277"/>
            <ac:picMk id="2" creationId="{62E49B86-8F6F-49C3-A70E-43C1091FA848}"/>
          </ac:picMkLst>
        </pc:picChg>
      </pc:sldChg>
      <pc:sldChg chg="del">
        <pc:chgData name="Berlow, Jason" userId="2ca71643-eff5-4d67-b81e-ca1c03f44d5e" providerId="ADAL" clId="{A9BB189A-D2B1-4731-8B8F-A4055D2FAE21}" dt="2023-03-10T20:06:16.641" v="1538" actId="2696"/>
        <pc:sldMkLst>
          <pc:docMk/>
          <pc:sldMk cId="1948371787" sldId="280"/>
        </pc:sldMkLst>
      </pc:sldChg>
      <pc:sldChg chg="modSp mod ord">
        <pc:chgData name="Berlow, Jason" userId="2ca71643-eff5-4d67-b81e-ca1c03f44d5e" providerId="ADAL" clId="{A9BB189A-D2B1-4731-8B8F-A4055D2FAE21}" dt="2023-03-13T12:46:18.286" v="2960"/>
        <pc:sldMkLst>
          <pc:docMk/>
          <pc:sldMk cId="3993648177" sldId="282"/>
        </pc:sldMkLst>
        <pc:spChg chg="mod">
          <ac:chgData name="Berlow, Jason" userId="2ca71643-eff5-4d67-b81e-ca1c03f44d5e" providerId="ADAL" clId="{A9BB189A-D2B1-4731-8B8F-A4055D2FAE21}" dt="2023-03-01T15:44:49.817" v="1288" actId="20577"/>
          <ac:spMkLst>
            <pc:docMk/>
            <pc:sldMk cId="3993648177" sldId="282"/>
            <ac:spMk id="2" creationId="{D7EC4F29-3BA2-466D-B131-92F97F793A93}"/>
          </ac:spMkLst>
        </pc:spChg>
        <pc:spChg chg="mod">
          <ac:chgData name="Berlow, Jason" userId="2ca71643-eff5-4d67-b81e-ca1c03f44d5e" providerId="ADAL" clId="{A9BB189A-D2B1-4731-8B8F-A4055D2FAE21}" dt="2023-03-10T19:39:23.708" v="1459" actId="20577"/>
          <ac:spMkLst>
            <pc:docMk/>
            <pc:sldMk cId="3993648177" sldId="282"/>
            <ac:spMk id="3" creationId="{767621D6-A700-49A3-B56C-3FA5B416FCE2}"/>
          </ac:spMkLst>
        </pc:spChg>
      </pc:sldChg>
      <pc:sldChg chg="modSp mod ord">
        <pc:chgData name="Berlow, Jason" userId="2ca71643-eff5-4d67-b81e-ca1c03f44d5e" providerId="ADAL" clId="{A9BB189A-D2B1-4731-8B8F-A4055D2FAE21}" dt="2023-03-01T00:49:55.347" v="745" actId="1440"/>
        <pc:sldMkLst>
          <pc:docMk/>
          <pc:sldMk cId="3478408838" sldId="283"/>
        </pc:sldMkLst>
        <pc:picChg chg="mod">
          <ac:chgData name="Berlow, Jason" userId="2ca71643-eff5-4d67-b81e-ca1c03f44d5e" providerId="ADAL" clId="{A9BB189A-D2B1-4731-8B8F-A4055D2FAE21}" dt="2023-03-01T00:49:55.347" v="745" actId="1440"/>
          <ac:picMkLst>
            <pc:docMk/>
            <pc:sldMk cId="3478408838" sldId="283"/>
            <ac:picMk id="4" creationId="{D4982862-9018-4D2A-8303-AF99A31CD8E1}"/>
          </ac:picMkLst>
        </pc:picChg>
      </pc:sldChg>
      <pc:sldChg chg="addSp delSp modSp mod ord">
        <pc:chgData name="Berlow, Jason" userId="2ca71643-eff5-4d67-b81e-ca1c03f44d5e" providerId="ADAL" clId="{A9BB189A-D2B1-4731-8B8F-A4055D2FAE21}" dt="2023-03-01T00:51:44.201" v="788" actId="27636"/>
        <pc:sldMkLst>
          <pc:docMk/>
          <pc:sldMk cId="975963436" sldId="285"/>
        </pc:sldMkLst>
        <pc:spChg chg="mod">
          <ac:chgData name="Berlow, Jason" userId="2ca71643-eff5-4d67-b81e-ca1c03f44d5e" providerId="ADAL" clId="{A9BB189A-D2B1-4731-8B8F-A4055D2FAE21}" dt="2023-03-01T00:42:39.977" v="559" actId="20577"/>
          <ac:spMkLst>
            <pc:docMk/>
            <pc:sldMk cId="975963436" sldId="285"/>
            <ac:spMk id="2" creationId="{E8C8DE6C-2736-4402-BB72-4C89A34E7BBB}"/>
          </ac:spMkLst>
        </pc:spChg>
        <pc:spChg chg="mod">
          <ac:chgData name="Berlow, Jason" userId="2ca71643-eff5-4d67-b81e-ca1c03f44d5e" providerId="ADAL" clId="{A9BB189A-D2B1-4731-8B8F-A4055D2FAE21}" dt="2023-03-01T00:51:44.201" v="788" actId="27636"/>
          <ac:spMkLst>
            <pc:docMk/>
            <pc:sldMk cId="975963436" sldId="285"/>
            <ac:spMk id="3" creationId="{53CB5957-0377-498A-B4FA-A6EFBB1F1955}"/>
          </ac:spMkLst>
        </pc:spChg>
        <pc:graphicFrameChg chg="add del mod modGraphic">
          <ac:chgData name="Berlow, Jason" userId="2ca71643-eff5-4d67-b81e-ca1c03f44d5e" providerId="ADAL" clId="{A9BB189A-D2B1-4731-8B8F-A4055D2FAE21}" dt="2023-03-01T00:48:14.039" v="681" actId="21"/>
          <ac:graphicFrameMkLst>
            <pc:docMk/>
            <pc:sldMk cId="975963436" sldId="285"/>
            <ac:graphicFrameMk id="4" creationId="{6A01E181-B59E-4FE2-87B4-05DE04C217B0}"/>
          </ac:graphicFrameMkLst>
        </pc:graphicFrameChg>
      </pc:sldChg>
      <pc:sldChg chg="modSp mod ord">
        <pc:chgData name="Berlow, Jason" userId="2ca71643-eff5-4d67-b81e-ca1c03f44d5e" providerId="ADAL" clId="{A9BB189A-D2B1-4731-8B8F-A4055D2FAE21}" dt="2023-03-01T00:50:35.192" v="774" actId="12"/>
        <pc:sldMkLst>
          <pc:docMk/>
          <pc:sldMk cId="4017133203" sldId="286"/>
        </pc:sldMkLst>
        <pc:spChg chg="mod">
          <ac:chgData name="Berlow, Jason" userId="2ca71643-eff5-4d67-b81e-ca1c03f44d5e" providerId="ADAL" clId="{A9BB189A-D2B1-4731-8B8F-A4055D2FAE21}" dt="2023-03-01T00:50:26.204" v="772" actId="20577"/>
          <ac:spMkLst>
            <pc:docMk/>
            <pc:sldMk cId="4017133203" sldId="286"/>
            <ac:spMk id="2" creationId="{F3A3DD92-CBB7-4203-B370-43CB62CB8A60}"/>
          </ac:spMkLst>
        </pc:spChg>
        <pc:spChg chg="mod">
          <ac:chgData name="Berlow, Jason" userId="2ca71643-eff5-4d67-b81e-ca1c03f44d5e" providerId="ADAL" clId="{A9BB189A-D2B1-4731-8B8F-A4055D2FAE21}" dt="2023-03-01T00:50:35.192" v="774" actId="12"/>
          <ac:spMkLst>
            <pc:docMk/>
            <pc:sldMk cId="4017133203" sldId="286"/>
            <ac:spMk id="3" creationId="{6D2714A0-8197-43AC-8931-D4FB78EE9D94}"/>
          </ac:spMkLst>
        </pc:spChg>
      </pc:sldChg>
      <pc:sldChg chg="ord">
        <pc:chgData name="Berlow, Jason" userId="2ca71643-eff5-4d67-b81e-ca1c03f44d5e" providerId="ADAL" clId="{A9BB189A-D2B1-4731-8B8F-A4055D2FAE21}" dt="2023-03-01T00:28:40.910" v="78"/>
        <pc:sldMkLst>
          <pc:docMk/>
          <pc:sldMk cId="884701916" sldId="287"/>
        </pc:sldMkLst>
      </pc:sldChg>
      <pc:sldChg chg="ord">
        <pc:chgData name="Berlow, Jason" userId="2ca71643-eff5-4d67-b81e-ca1c03f44d5e" providerId="ADAL" clId="{A9BB189A-D2B1-4731-8B8F-A4055D2FAE21}" dt="2023-03-01T00:28:40.910" v="78"/>
        <pc:sldMkLst>
          <pc:docMk/>
          <pc:sldMk cId="1488258243" sldId="288"/>
        </pc:sldMkLst>
      </pc:sldChg>
      <pc:sldChg chg="ord">
        <pc:chgData name="Berlow, Jason" userId="2ca71643-eff5-4d67-b81e-ca1c03f44d5e" providerId="ADAL" clId="{A9BB189A-D2B1-4731-8B8F-A4055D2FAE21}" dt="2023-03-01T00:28:40.910" v="78"/>
        <pc:sldMkLst>
          <pc:docMk/>
          <pc:sldMk cId="968044900" sldId="289"/>
        </pc:sldMkLst>
      </pc:sldChg>
      <pc:sldChg chg="del">
        <pc:chgData name="Berlow, Jason" userId="2ca71643-eff5-4d67-b81e-ca1c03f44d5e" providerId="ADAL" clId="{A9BB189A-D2B1-4731-8B8F-A4055D2FAE21}" dt="2023-03-01T00:54:06.158" v="822" actId="47"/>
        <pc:sldMkLst>
          <pc:docMk/>
          <pc:sldMk cId="1894707290" sldId="290"/>
        </pc:sldMkLst>
      </pc:sldChg>
      <pc:sldChg chg="delSp del mod">
        <pc:chgData name="Berlow, Jason" userId="2ca71643-eff5-4d67-b81e-ca1c03f44d5e" providerId="ADAL" clId="{A9BB189A-D2B1-4731-8B8F-A4055D2FAE21}" dt="2023-03-11T18:07:54.576" v="2653" actId="47"/>
        <pc:sldMkLst>
          <pc:docMk/>
          <pc:sldMk cId="539780619" sldId="291"/>
        </pc:sldMkLst>
        <pc:graphicFrameChg chg="del">
          <ac:chgData name="Berlow, Jason" userId="2ca71643-eff5-4d67-b81e-ca1c03f44d5e" providerId="ADAL" clId="{A9BB189A-D2B1-4731-8B8F-A4055D2FAE21}" dt="2023-03-10T20:07:05.620" v="1540" actId="478"/>
          <ac:graphicFrameMkLst>
            <pc:docMk/>
            <pc:sldMk cId="539780619" sldId="291"/>
            <ac:graphicFrameMk id="6" creationId="{4D3260DD-BC0D-486A-ACE8-E12D15B2AD24}"/>
          </ac:graphicFrameMkLst>
        </pc:graphicFrameChg>
        <pc:graphicFrameChg chg="del">
          <ac:chgData name="Berlow, Jason" userId="2ca71643-eff5-4d67-b81e-ca1c03f44d5e" providerId="ADAL" clId="{A9BB189A-D2B1-4731-8B8F-A4055D2FAE21}" dt="2023-03-10T20:07:08.140" v="1541" actId="478"/>
          <ac:graphicFrameMkLst>
            <pc:docMk/>
            <pc:sldMk cId="539780619" sldId="291"/>
            <ac:graphicFrameMk id="8" creationId="{887A975B-DC0B-42BE-8442-AF0C5F60CCE5}"/>
          </ac:graphicFrameMkLst>
        </pc:graphicFrameChg>
        <pc:graphicFrameChg chg="del">
          <ac:chgData name="Berlow, Jason" userId="2ca71643-eff5-4d67-b81e-ca1c03f44d5e" providerId="ADAL" clId="{A9BB189A-D2B1-4731-8B8F-A4055D2FAE21}" dt="2023-03-10T20:07:10.449" v="1542" actId="478"/>
          <ac:graphicFrameMkLst>
            <pc:docMk/>
            <pc:sldMk cId="539780619" sldId="291"/>
            <ac:graphicFrameMk id="10" creationId="{A7A926B7-2B72-48FC-A38D-B4A27AB5C7B1}"/>
          </ac:graphicFrameMkLst>
        </pc:graphicFrameChg>
      </pc:sldChg>
      <pc:sldChg chg="modSp mod ord">
        <pc:chgData name="Berlow, Jason" userId="2ca71643-eff5-4d67-b81e-ca1c03f44d5e" providerId="ADAL" clId="{A9BB189A-D2B1-4731-8B8F-A4055D2FAE21}" dt="2023-03-10T19:48:47.723" v="1503" actId="20577"/>
        <pc:sldMkLst>
          <pc:docMk/>
          <pc:sldMk cId="3103794878" sldId="292"/>
        </pc:sldMkLst>
        <pc:spChg chg="mod">
          <ac:chgData name="Berlow, Jason" userId="2ca71643-eff5-4d67-b81e-ca1c03f44d5e" providerId="ADAL" clId="{A9BB189A-D2B1-4731-8B8F-A4055D2FAE21}" dt="2023-03-10T19:48:47.723" v="1503" actId="20577"/>
          <ac:spMkLst>
            <pc:docMk/>
            <pc:sldMk cId="3103794878" sldId="292"/>
            <ac:spMk id="3" creationId="{F37C9D81-E25B-4022-8B6E-8239AB65CB0E}"/>
          </ac:spMkLst>
        </pc:spChg>
      </pc:sldChg>
      <pc:sldChg chg="modSp mod">
        <pc:chgData name="Berlow, Jason" userId="2ca71643-eff5-4d67-b81e-ca1c03f44d5e" providerId="ADAL" clId="{A9BB189A-D2B1-4731-8B8F-A4055D2FAE21}" dt="2023-03-11T16:25:56.889" v="1954" actId="207"/>
        <pc:sldMkLst>
          <pc:docMk/>
          <pc:sldMk cId="0" sldId="348"/>
        </pc:sldMkLst>
        <pc:spChg chg="mod">
          <ac:chgData name="Berlow, Jason" userId="2ca71643-eff5-4d67-b81e-ca1c03f44d5e" providerId="ADAL" clId="{A9BB189A-D2B1-4731-8B8F-A4055D2FAE21}" dt="2023-03-11T16:25:56.889" v="1954" actId="207"/>
          <ac:spMkLst>
            <pc:docMk/>
            <pc:sldMk cId="0" sldId="348"/>
            <ac:spMk id="16387" creationId="{6047D568-7030-4CF4-B8F5-738405C13918}"/>
          </ac:spMkLst>
        </pc:spChg>
        <pc:spChg chg="mod">
          <ac:chgData name="Berlow, Jason" userId="2ca71643-eff5-4d67-b81e-ca1c03f44d5e" providerId="ADAL" clId="{A9BB189A-D2B1-4731-8B8F-A4055D2FAE21}" dt="2023-03-11T16:25:46.588" v="1953" actId="20577"/>
          <ac:spMkLst>
            <pc:docMk/>
            <pc:sldMk cId="0" sldId="348"/>
            <ac:spMk id="322562" creationId="{F98774E8-D5C0-48CB-B065-48E27381F7F7}"/>
          </ac:spMkLst>
        </pc:spChg>
      </pc:sldChg>
      <pc:sldChg chg="del">
        <pc:chgData name="Berlow, Jason" userId="2ca71643-eff5-4d67-b81e-ca1c03f44d5e" providerId="ADAL" clId="{A9BB189A-D2B1-4731-8B8F-A4055D2FAE21}" dt="2023-03-01T00:29:35.971" v="81" actId="47"/>
        <pc:sldMkLst>
          <pc:docMk/>
          <pc:sldMk cId="1703656006" sldId="838841261"/>
        </pc:sldMkLst>
      </pc:sldChg>
      <pc:sldChg chg="del">
        <pc:chgData name="Berlow, Jason" userId="2ca71643-eff5-4d67-b81e-ca1c03f44d5e" providerId="ADAL" clId="{A9BB189A-D2B1-4731-8B8F-A4055D2FAE21}" dt="2023-03-01T00:29:35.971" v="81" actId="47"/>
        <pc:sldMkLst>
          <pc:docMk/>
          <pc:sldMk cId="1992911154" sldId="838841262"/>
        </pc:sldMkLst>
      </pc:sldChg>
      <pc:sldChg chg="del">
        <pc:chgData name="Berlow, Jason" userId="2ca71643-eff5-4d67-b81e-ca1c03f44d5e" providerId="ADAL" clId="{A9BB189A-D2B1-4731-8B8F-A4055D2FAE21}" dt="2023-03-01T00:29:35.971" v="81" actId="47"/>
        <pc:sldMkLst>
          <pc:docMk/>
          <pc:sldMk cId="2645951792" sldId="838841264"/>
        </pc:sldMkLst>
      </pc:sldChg>
      <pc:sldChg chg="del">
        <pc:chgData name="Berlow, Jason" userId="2ca71643-eff5-4d67-b81e-ca1c03f44d5e" providerId="ADAL" clId="{A9BB189A-D2B1-4731-8B8F-A4055D2FAE21}" dt="2023-03-01T00:29:35.971" v="81" actId="47"/>
        <pc:sldMkLst>
          <pc:docMk/>
          <pc:sldMk cId="2974071276" sldId="838841265"/>
        </pc:sldMkLst>
      </pc:sldChg>
      <pc:sldChg chg="addSp delSp modSp mod ord">
        <pc:chgData name="Berlow, Jason" userId="2ca71643-eff5-4d67-b81e-ca1c03f44d5e" providerId="ADAL" clId="{A9BB189A-D2B1-4731-8B8F-A4055D2FAE21}" dt="2023-03-13T12:52:28.624" v="3238" actId="20577"/>
        <pc:sldMkLst>
          <pc:docMk/>
          <pc:sldMk cId="3491146997" sldId="838841271"/>
        </pc:sldMkLst>
        <pc:spChg chg="mod">
          <ac:chgData name="Berlow, Jason" userId="2ca71643-eff5-4d67-b81e-ca1c03f44d5e" providerId="ADAL" clId="{A9BB189A-D2B1-4731-8B8F-A4055D2FAE21}" dt="2023-03-01T00:33:28.568" v="186" actId="20577"/>
          <ac:spMkLst>
            <pc:docMk/>
            <pc:sldMk cId="3491146997" sldId="838841271"/>
            <ac:spMk id="2" creationId="{CB3613DA-F5A5-4D7D-8B4D-58057C2FF330}"/>
          </ac:spMkLst>
        </pc:spChg>
        <pc:spChg chg="add mod">
          <ac:chgData name="Berlow, Jason" userId="2ca71643-eff5-4d67-b81e-ca1c03f44d5e" providerId="ADAL" clId="{A9BB189A-D2B1-4731-8B8F-A4055D2FAE21}" dt="2023-03-11T18:18:02.872" v="2882" actId="207"/>
          <ac:spMkLst>
            <pc:docMk/>
            <pc:sldMk cId="3491146997" sldId="838841271"/>
            <ac:spMk id="6" creationId="{8AEE8298-F633-4B66-93D6-C2EB42A322E3}"/>
          </ac:spMkLst>
        </pc:spChg>
        <pc:graphicFrameChg chg="add del modGraphic">
          <ac:chgData name="Berlow, Jason" userId="2ca71643-eff5-4d67-b81e-ca1c03f44d5e" providerId="ADAL" clId="{A9BB189A-D2B1-4731-8B8F-A4055D2FAE21}" dt="2023-03-01T00:31:40.588" v="100" actId="3680"/>
          <ac:graphicFrameMkLst>
            <pc:docMk/>
            <pc:sldMk cId="3491146997" sldId="838841271"/>
            <ac:graphicFrameMk id="5" creationId="{75C03BAB-DF84-4D05-8153-DD8A106A135B}"/>
          </ac:graphicFrameMkLst>
        </pc:graphicFrameChg>
        <pc:graphicFrameChg chg="mod modGraphic">
          <ac:chgData name="Berlow, Jason" userId="2ca71643-eff5-4d67-b81e-ca1c03f44d5e" providerId="ADAL" clId="{A9BB189A-D2B1-4731-8B8F-A4055D2FAE21}" dt="2023-03-13T12:52:28.624" v="3238" actId="20577"/>
          <ac:graphicFrameMkLst>
            <pc:docMk/>
            <pc:sldMk cId="3491146997" sldId="838841271"/>
            <ac:graphicFrameMk id="8" creationId="{D73BE7DA-46BF-4C43-B474-70E8AF0E426C}"/>
          </ac:graphicFrameMkLst>
        </pc:graphicFrameChg>
        <pc:cxnChg chg="add">
          <ac:chgData name="Berlow, Jason" userId="2ca71643-eff5-4d67-b81e-ca1c03f44d5e" providerId="ADAL" clId="{A9BB189A-D2B1-4731-8B8F-A4055D2FAE21}" dt="2023-03-01T00:35:10.408" v="265" actId="11529"/>
          <ac:cxnSpMkLst>
            <pc:docMk/>
            <pc:sldMk cId="3491146997" sldId="838841271"/>
            <ac:cxnSpMk id="9" creationId="{D0B9EEA4-51A1-4EE5-BDF0-88A00F434BA2}"/>
          </ac:cxnSpMkLst>
        </pc:cxnChg>
      </pc:sldChg>
      <pc:sldChg chg="del">
        <pc:chgData name="Berlow, Jason" userId="2ca71643-eff5-4d67-b81e-ca1c03f44d5e" providerId="ADAL" clId="{A9BB189A-D2B1-4731-8B8F-A4055D2FAE21}" dt="2023-03-11T16:28:49.492" v="1985" actId="2696"/>
        <pc:sldMkLst>
          <pc:docMk/>
          <pc:sldMk cId="2756079396" sldId="838841272"/>
        </pc:sldMkLst>
      </pc:sldChg>
      <pc:sldChg chg="del">
        <pc:chgData name="Berlow, Jason" userId="2ca71643-eff5-4d67-b81e-ca1c03f44d5e" providerId="ADAL" clId="{A9BB189A-D2B1-4731-8B8F-A4055D2FAE21}" dt="2023-03-11T17:28:35.240" v="1986" actId="2696"/>
        <pc:sldMkLst>
          <pc:docMk/>
          <pc:sldMk cId="3125254643" sldId="838841299"/>
        </pc:sldMkLst>
      </pc:sldChg>
      <pc:sldChg chg="modSp mod">
        <pc:chgData name="Berlow, Jason" userId="2ca71643-eff5-4d67-b81e-ca1c03f44d5e" providerId="ADAL" clId="{A9BB189A-D2B1-4731-8B8F-A4055D2FAE21}" dt="2023-03-11T18:30:27.991" v="2921" actId="2"/>
        <pc:sldMkLst>
          <pc:docMk/>
          <pc:sldMk cId="1303812276" sldId="838841309"/>
        </pc:sldMkLst>
        <pc:spChg chg="mod">
          <ac:chgData name="Berlow, Jason" userId="2ca71643-eff5-4d67-b81e-ca1c03f44d5e" providerId="ADAL" clId="{A9BB189A-D2B1-4731-8B8F-A4055D2FAE21}" dt="2023-03-11T18:30:27.207" v="2920" actId="2"/>
          <ac:spMkLst>
            <pc:docMk/>
            <pc:sldMk cId="1303812276" sldId="838841309"/>
            <ac:spMk id="6" creationId="{99C948FE-873A-4396-AD92-FC9DEBAA8E20}"/>
          </ac:spMkLst>
        </pc:spChg>
        <pc:spChg chg="mod">
          <ac:chgData name="Berlow, Jason" userId="2ca71643-eff5-4d67-b81e-ca1c03f44d5e" providerId="ADAL" clId="{A9BB189A-D2B1-4731-8B8F-A4055D2FAE21}" dt="2023-03-11T18:30:27.991" v="2921" actId="2"/>
          <ac:spMkLst>
            <pc:docMk/>
            <pc:sldMk cId="1303812276" sldId="838841309"/>
            <ac:spMk id="7" creationId="{176D54A4-5B54-4112-ACC6-B635EFB16713}"/>
          </ac:spMkLst>
        </pc:spChg>
      </pc:sldChg>
      <pc:sldChg chg="modSp mod">
        <pc:chgData name="Berlow, Jason" userId="2ca71643-eff5-4d67-b81e-ca1c03f44d5e" providerId="ADAL" clId="{A9BB189A-D2B1-4731-8B8F-A4055D2FAE21}" dt="2023-03-11T18:07:08.493" v="2652"/>
        <pc:sldMkLst>
          <pc:docMk/>
          <pc:sldMk cId="890019531" sldId="838841310"/>
        </pc:sldMkLst>
        <pc:spChg chg="mod">
          <ac:chgData name="Berlow, Jason" userId="2ca71643-eff5-4d67-b81e-ca1c03f44d5e" providerId="ADAL" clId="{A9BB189A-D2B1-4731-8B8F-A4055D2FAE21}" dt="2023-03-11T18:07:08.493" v="2652"/>
          <ac:spMkLst>
            <pc:docMk/>
            <pc:sldMk cId="890019531" sldId="838841310"/>
            <ac:spMk id="3" creationId="{E3E0BEF1-18B7-4EF5-A827-BD8C0D7F8F06}"/>
          </ac:spMkLst>
        </pc:spChg>
      </pc:sldChg>
      <pc:sldChg chg="modSp mod">
        <pc:chgData name="Berlow, Jason" userId="2ca71643-eff5-4d67-b81e-ca1c03f44d5e" providerId="ADAL" clId="{A9BB189A-D2B1-4731-8B8F-A4055D2FAE21}" dt="2023-03-11T16:26:13.204" v="1955" actId="15"/>
        <pc:sldMkLst>
          <pc:docMk/>
          <pc:sldMk cId="2463715065" sldId="838841311"/>
        </pc:sldMkLst>
        <pc:spChg chg="mod">
          <ac:chgData name="Berlow, Jason" userId="2ca71643-eff5-4d67-b81e-ca1c03f44d5e" providerId="ADAL" clId="{A9BB189A-D2B1-4731-8B8F-A4055D2FAE21}" dt="2023-03-11T16:26:13.204" v="1955" actId="15"/>
          <ac:spMkLst>
            <pc:docMk/>
            <pc:sldMk cId="2463715065" sldId="838841311"/>
            <ac:spMk id="16387" creationId="{6047D568-7030-4CF4-B8F5-738405C13918}"/>
          </ac:spMkLst>
        </pc:spChg>
      </pc:sldChg>
      <pc:sldChg chg="ord">
        <pc:chgData name="Berlow, Jason" userId="2ca71643-eff5-4d67-b81e-ca1c03f44d5e" providerId="ADAL" clId="{A9BB189A-D2B1-4731-8B8F-A4055D2FAE21}" dt="2023-03-01T15:53:15.939" v="1325"/>
        <pc:sldMkLst>
          <pc:docMk/>
          <pc:sldMk cId="3217516876" sldId="838841313"/>
        </pc:sldMkLst>
      </pc:sldChg>
      <pc:sldChg chg="addSp modSp mod ord">
        <pc:chgData name="Berlow, Jason" userId="2ca71643-eff5-4d67-b81e-ca1c03f44d5e" providerId="ADAL" clId="{A9BB189A-D2B1-4731-8B8F-A4055D2FAE21}" dt="2023-03-10T20:08:22.686" v="1599"/>
        <pc:sldMkLst>
          <pc:docMk/>
          <pc:sldMk cId="2101627390" sldId="838841315"/>
        </pc:sldMkLst>
        <pc:spChg chg="mod">
          <ac:chgData name="Berlow, Jason" userId="2ca71643-eff5-4d67-b81e-ca1c03f44d5e" providerId="ADAL" clId="{A9BB189A-D2B1-4731-8B8F-A4055D2FAE21}" dt="2023-03-01T00:55:16.376" v="923" actId="20577"/>
          <ac:spMkLst>
            <pc:docMk/>
            <pc:sldMk cId="2101627390" sldId="838841315"/>
            <ac:spMk id="2" creationId="{9807636A-43EE-4BB6-B32A-9138E9F7C7CA}"/>
          </ac:spMkLst>
        </pc:spChg>
        <pc:spChg chg="add mod">
          <ac:chgData name="Berlow, Jason" userId="2ca71643-eff5-4d67-b81e-ca1c03f44d5e" providerId="ADAL" clId="{A9BB189A-D2B1-4731-8B8F-A4055D2FAE21}" dt="2023-03-01T00:27:33.998" v="76" actId="20577"/>
          <ac:spMkLst>
            <pc:docMk/>
            <pc:sldMk cId="2101627390" sldId="838841315"/>
            <ac:spMk id="3" creationId="{6EEEA600-8C9E-4876-BD96-08B13367E2DB}"/>
          </ac:spMkLst>
        </pc:spChg>
      </pc:sldChg>
      <pc:sldChg chg="del">
        <pc:chgData name="Berlow, Jason" userId="2ca71643-eff5-4d67-b81e-ca1c03f44d5e" providerId="ADAL" clId="{A9BB189A-D2B1-4731-8B8F-A4055D2FAE21}" dt="2023-03-01T15:25:36.829" v="1207" actId="47"/>
        <pc:sldMkLst>
          <pc:docMk/>
          <pc:sldMk cId="1210366132" sldId="838841323"/>
        </pc:sldMkLst>
      </pc:sldChg>
      <pc:sldChg chg="modSp mod">
        <pc:chgData name="Berlow, Jason" userId="2ca71643-eff5-4d67-b81e-ca1c03f44d5e" providerId="ADAL" clId="{A9BB189A-D2B1-4731-8B8F-A4055D2FAE21}" dt="2023-03-13T12:44:47.517" v="2957" actId="20577"/>
        <pc:sldMkLst>
          <pc:docMk/>
          <pc:sldMk cId="1879045922" sldId="838841324"/>
        </pc:sldMkLst>
        <pc:spChg chg="mod">
          <ac:chgData name="Berlow, Jason" userId="2ca71643-eff5-4d67-b81e-ca1c03f44d5e" providerId="ADAL" clId="{A9BB189A-D2B1-4731-8B8F-A4055D2FAE21}" dt="2023-03-13T12:44:47.517" v="2957" actId="20577"/>
          <ac:spMkLst>
            <pc:docMk/>
            <pc:sldMk cId="1879045922" sldId="838841324"/>
            <ac:spMk id="3" creationId="{0324081F-014F-4EAC-A6F1-D07E35B1F3B7}"/>
          </ac:spMkLst>
        </pc:spChg>
      </pc:sldChg>
      <pc:sldChg chg="modSp mod">
        <pc:chgData name="Berlow, Jason" userId="2ca71643-eff5-4d67-b81e-ca1c03f44d5e" providerId="ADAL" clId="{A9BB189A-D2B1-4731-8B8F-A4055D2FAE21}" dt="2023-03-11T18:20:26.256" v="2886" actId="113"/>
        <pc:sldMkLst>
          <pc:docMk/>
          <pc:sldMk cId="2431952672" sldId="838841325"/>
        </pc:sldMkLst>
        <pc:spChg chg="mod">
          <ac:chgData name="Berlow, Jason" userId="2ca71643-eff5-4d67-b81e-ca1c03f44d5e" providerId="ADAL" clId="{A9BB189A-D2B1-4731-8B8F-A4055D2FAE21}" dt="2023-03-11T18:20:26.256" v="2886" actId="113"/>
          <ac:spMkLst>
            <pc:docMk/>
            <pc:sldMk cId="2431952672" sldId="838841325"/>
            <ac:spMk id="3" creationId="{5E6A5C4E-5774-4AC3-B577-3963D7755F2A}"/>
          </ac:spMkLst>
        </pc:spChg>
      </pc:sldChg>
      <pc:sldChg chg="modSp mod">
        <pc:chgData name="Berlow, Jason" userId="2ca71643-eff5-4d67-b81e-ca1c03f44d5e" providerId="ADAL" clId="{A9BB189A-D2B1-4731-8B8F-A4055D2FAE21}" dt="2023-03-11T16:19:24.188" v="1730" actId="2161"/>
        <pc:sldMkLst>
          <pc:docMk/>
          <pc:sldMk cId="206297872" sldId="838841326"/>
        </pc:sldMkLst>
        <pc:graphicFrameChg chg="modGraphic">
          <ac:chgData name="Berlow, Jason" userId="2ca71643-eff5-4d67-b81e-ca1c03f44d5e" providerId="ADAL" clId="{A9BB189A-D2B1-4731-8B8F-A4055D2FAE21}" dt="2023-03-11T16:19:24.188" v="1730" actId="2161"/>
          <ac:graphicFrameMkLst>
            <pc:docMk/>
            <pc:sldMk cId="206297872" sldId="838841326"/>
            <ac:graphicFrameMk id="6" creationId="{23426CB8-C0A4-4F29-BD5A-3AD1C06B24D4}"/>
          </ac:graphicFrameMkLst>
        </pc:graphicFrameChg>
      </pc:sldChg>
      <pc:sldChg chg="ord">
        <pc:chgData name="Berlow, Jason" userId="2ca71643-eff5-4d67-b81e-ca1c03f44d5e" providerId="ADAL" clId="{A9BB189A-D2B1-4731-8B8F-A4055D2FAE21}" dt="2023-03-10T20:08:22.686" v="1599"/>
        <pc:sldMkLst>
          <pc:docMk/>
          <pc:sldMk cId="3685367631" sldId="838841327"/>
        </pc:sldMkLst>
      </pc:sldChg>
      <pc:sldChg chg="modSp mod ord">
        <pc:chgData name="Berlow, Jason" userId="2ca71643-eff5-4d67-b81e-ca1c03f44d5e" providerId="ADAL" clId="{A9BB189A-D2B1-4731-8B8F-A4055D2FAE21}" dt="2023-03-10T20:08:22.686" v="1599"/>
        <pc:sldMkLst>
          <pc:docMk/>
          <pc:sldMk cId="2686190370" sldId="838841328"/>
        </pc:sldMkLst>
        <pc:spChg chg="mod">
          <ac:chgData name="Berlow, Jason" userId="2ca71643-eff5-4d67-b81e-ca1c03f44d5e" providerId="ADAL" clId="{A9BB189A-D2B1-4731-8B8F-A4055D2FAE21}" dt="2023-03-10T20:07:46.953" v="1597" actId="20577"/>
          <ac:spMkLst>
            <pc:docMk/>
            <pc:sldMk cId="2686190370" sldId="838841328"/>
            <ac:spMk id="3" creationId="{4221D87A-1816-47E4-B9AE-53BC172519CA}"/>
          </ac:spMkLst>
        </pc:spChg>
      </pc:sldChg>
      <pc:sldChg chg="ord">
        <pc:chgData name="Berlow, Jason" userId="2ca71643-eff5-4d67-b81e-ca1c03f44d5e" providerId="ADAL" clId="{A9BB189A-D2B1-4731-8B8F-A4055D2FAE21}" dt="2023-03-10T20:08:22.686" v="1599"/>
        <pc:sldMkLst>
          <pc:docMk/>
          <pc:sldMk cId="388861386" sldId="838841329"/>
        </pc:sldMkLst>
      </pc:sldChg>
      <pc:sldChg chg="modSp mod ord">
        <pc:chgData name="Berlow, Jason" userId="2ca71643-eff5-4d67-b81e-ca1c03f44d5e" providerId="ADAL" clId="{A9BB189A-D2B1-4731-8B8F-A4055D2FAE21}" dt="2023-03-10T20:08:22.686" v="1599"/>
        <pc:sldMkLst>
          <pc:docMk/>
          <pc:sldMk cId="2545076024" sldId="838841330"/>
        </pc:sldMkLst>
        <pc:spChg chg="mod">
          <ac:chgData name="Berlow, Jason" userId="2ca71643-eff5-4d67-b81e-ca1c03f44d5e" providerId="ADAL" clId="{A9BB189A-D2B1-4731-8B8F-A4055D2FAE21}" dt="2023-03-01T15:46:45.637" v="1303" actId="20577"/>
          <ac:spMkLst>
            <pc:docMk/>
            <pc:sldMk cId="2545076024" sldId="838841330"/>
            <ac:spMk id="2" creationId="{8CA7DE60-82B3-4F57-AFEF-2F8EB7AD845F}"/>
          </ac:spMkLst>
        </pc:spChg>
      </pc:sldChg>
      <pc:sldChg chg="addSp delSp modSp del mod ord">
        <pc:chgData name="Berlow, Jason" userId="2ca71643-eff5-4d67-b81e-ca1c03f44d5e" providerId="ADAL" clId="{A9BB189A-D2B1-4731-8B8F-A4055D2FAE21}" dt="2023-03-10T20:07:28.572" v="1543" actId="47"/>
        <pc:sldMkLst>
          <pc:docMk/>
          <pc:sldMk cId="378213028" sldId="838841331"/>
        </pc:sldMkLst>
        <pc:spChg chg="mod">
          <ac:chgData name="Berlow, Jason" userId="2ca71643-eff5-4d67-b81e-ca1c03f44d5e" providerId="ADAL" clId="{A9BB189A-D2B1-4731-8B8F-A4055D2FAE21}" dt="2023-03-01T15:47:49.215" v="1320" actId="20577"/>
          <ac:spMkLst>
            <pc:docMk/>
            <pc:sldMk cId="378213028" sldId="838841331"/>
            <ac:spMk id="2" creationId="{8CA7DE60-82B3-4F57-AFEF-2F8EB7AD845F}"/>
          </ac:spMkLst>
        </pc:spChg>
        <pc:spChg chg="add mod">
          <ac:chgData name="Berlow, Jason" userId="2ca71643-eff5-4d67-b81e-ca1c03f44d5e" providerId="ADAL" clId="{A9BB189A-D2B1-4731-8B8F-A4055D2FAE21}" dt="2023-03-01T15:47:51.007" v="1321" actId="478"/>
          <ac:spMkLst>
            <pc:docMk/>
            <pc:sldMk cId="378213028" sldId="838841331"/>
            <ac:spMk id="5" creationId="{CB94E188-469B-4C0A-AE5A-ED4DD841B894}"/>
          </ac:spMkLst>
        </pc:spChg>
        <pc:picChg chg="del">
          <ac:chgData name="Berlow, Jason" userId="2ca71643-eff5-4d67-b81e-ca1c03f44d5e" providerId="ADAL" clId="{A9BB189A-D2B1-4731-8B8F-A4055D2FAE21}" dt="2023-03-01T15:47:51.007" v="1321" actId="478"/>
          <ac:picMkLst>
            <pc:docMk/>
            <pc:sldMk cId="378213028" sldId="838841331"/>
            <ac:picMk id="8" creationId="{43EA15A2-8833-4C4A-8763-389A68FB5EAF}"/>
          </ac:picMkLst>
        </pc:picChg>
      </pc:sldChg>
      <pc:sldChg chg="del">
        <pc:chgData name="Berlow, Jason" userId="2ca71643-eff5-4d67-b81e-ca1c03f44d5e" providerId="ADAL" clId="{A9BB189A-D2B1-4731-8B8F-A4055D2FAE21}" dt="2023-03-01T00:53:52.511" v="821" actId="2696"/>
        <pc:sldMkLst>
          <pc:docMk/>
          <pc:sldMk cId="1340200445" sldId="838841332"/>
        </pc:sldMkLst>
      </pc:sldChg>
      <pc:sldChg chg="addSp delSp modSp mod ord">
        <pc:chgData name="Berlow, Jason" userId="2ca71643-eff5-4d67-b81e-ca1c03f44d5e" providerId="ADAL" clId="{A9BB189A-D2B1-4731-8B8F-A4055D2FAE21}" dt="2023-03-13T12:45:52.541" v="2958" actId="14100"/>
        <pc:sldMkLst>
          <pc:docMk/>
          <pc:sldMk cId="982765075" sldId="838841333"/>
        </pc:sldMkLst>
        <pc:spChg chg="mod">
          <ac:chgData name="Berlow, Jason" userId="2ca71643-eff5-4d67-b81e-ca1c03f44d5e" providerId="ADAL" clId="{A9BB189A-D2B1-4731-8B8F-A4055D2FAE21}" dt="2023-03-10T19:37:17.607" v="1395" actId="20577"/>
          <ac:spMkLst>
            <pc:docMk/>
            <pc:sldMk cId="982765075" sldId="838841333"/>
            <ac:spMk id="2" creationId="{1329D4C1-06FB-4F76-8FB7-334A9D9E3970}"/>
          </ac:spMkLst>
        </pc:spChg>
        <pc:spChg chg="add del mod">
          <ac:chgData name="Berlow, Jason" userId="2ca71643-eff5-4d67-b81e-ca1c03f44d5e" providerId="ADAL" clId="{A9BB189A-D2B1-4731-8B8F-A4055D2FAE21}" dt="2023-03-10T19:34:47.115" v="1372" actId="22"/>
          <ac:spMkLst>
            <pc:docMk/>
            <pc:sldMk cId="982765075" sldId="838841333"/>
            <ac:spMk id="5" creationId="{4B6F8FBA-111E-C7E0-2D7E-2816553024F2}"/>
          </ac:spMkLst>
        </pc:spChg>
        <pc:spChg chg="add del mod">
          <ac:chgData name="Berlow, Jason" userId="2ca71643-eff5-4d67-b81e-ca1c03f44d5e" providerId="ADAL" clId="{A9BB189A-D2B1-4731-8B8F-A4055D2FAE21}" dt="2023-03-11T18:29:27.590" v="2919" actId="478"/>
          <ac:spMkLst>
            <pc:docMk/>
            <pc:sldMk cId="982765075" sldId="838841333"/>
            <ac:spMk id="5" creationId="{898C9270-49CD-BCD0-B897-06020F63EDF8}"/>
          </ac:spMkLst>
        </pc:spChg>
        <pc:picChg chg="add del mod ord">
          <ac:chgData name="Berlow, Jason" userId="2ca71643-eff5-4d67-b81e-ca1c03f44d5e" providerId="ADAL" clId="{A9BB189A-D2B1-4731-8B8F-A4055D2FAE21}" dt="2023-03-13T12:45:52.541" v="2958" actId="14100"/>
          <ac:picMkLst>
            <pc:docMk/>
            <pc:sldMk cId="982765075" sldId="838841333"/>
            <ac:picMk id="7" creationId="{DB476B7D-BEF5-27ED-6F51-34DC3C309A5F}"/>
          </ac:picMkLst>
        </pc:picChg>
        <pc:picChg chg="del">
          <ac:chgData name="Berlow, Jason" userId="2ca71643-eff5-4d67-b81e-ca1c03f44d5e" providerId="ADAL" clId="{A9BB189A-D2B1-4731-8B8F-A4055D2FAE21}" dt="2023-03-10T19:33:10.625" v="1371" actId="478"/>
          <ac:picMkLst>
            <pc:docMk/>
            <pc:sldMk cId="982765075" sldId="838841333"/>
            <ac:picMk id="8" creationId="{2B494367-B2F9-4236-8671-4CB12079FA0F}"/>
          </ac:picMkLst>
        </pc:picChg>
      </pc:sldChg>
      <pc:sldChg chg="addSp delSp modSp new del mod">
        <pc:chgData name="Berlow, Jason" userId="2ca71643-eff5-4d67-b81e-ca1c03f44d5e" providerId="ADAL" clId="{A9BB189A-D2B1-4731-8B8F-A4055D2FAE21}" dt="2023-03-01T00:32:48.841" v="143" actId="47"/>
        <pc:sldMkLst>
          <pc:docMk/>
          <pc:sldMk cId="707751602" sldId="838841335"/>
        </pc:sldMkLst>
        <pc:spChg chg="mod">
          <ac:chgData name="Berlow, Jason" userId="2ca71643-eff5-4d67-b81e-ca1c03f44d5e" providerId="ADAL" clId="{A9BB189A-D2B1-4731-8B8F-A4055D2FAE21}" dt="2023-03-01T00:32:39.805" v="141" actId="20577"/>
          <ac:spMkLst>
            <pc:docMk/>
            <pc:sldMk cId="707751602" sldId="838841335"/>
            <ac:spMk id="2" creationId="{8CB28789-DC5E-4276-A12C-23B33F022044}"/>
          </ac:spMkLst>
        </pc:spChg>
        <pc:spChg chg="add del">
          <ac:chgData name="Berlow, Jason" userId="2ca71643-eff5-4d67-b81e-ca1c03f44d5e" providerId="ADAL" clId="{A9BB189A-D2B1-4731-8B8F-A4055D2FAE21}" dt="2023-03-01T00:32:39.117" v="140" actId="3680"/>
          <ac:spMkLst>
            <pc:docMk/>
            <pc:sldMk cId="707751602" sldId="838841335"/>
            <ac:spMk id="3" creationId="{2B4F8A49-8842-4C6E-8BF0-F3BA6536CB62}"/>
          </ac:spMkLst>
        </pc:spChg>
        <pc:spChg chg="add del mod">
          <ac:chgData name="Berlow, Jason" userId="2ca71643-eff5-4d67-b81e-ca1c03f44d5e" providerId="ADAL" clId="{A9BB189A-D2B1-4731-8B8F-A4055D2FAE21}" dt="2023-03-01T00:32:37.084" v="136" actId="478"/>
          <ac:spMkLst>
            <pc:docMk/>
            <pc:sldMk cId="707751602" sldId="838841335"/>
            <ac:spMk id="7" creationId="{8D90DA5B-0911-4C98-A7EE-11EB6C0CE7F9}"/>
          </ac:spMkLst>
        </pc:spChg>
        <pc:graphicFrameChg chg="add del mod ord modGraphic">
          <ac:chgData name="Berlow, Jason" userId="2ca71643-eff5-4d67-b81e-ca1c03f44d5e" providerId="ADAL" clId="{A9BB189A-D2B1-4731-8B8F-A4055D2FAE21}" dt="2023-03-01T00:32:39.117" v="140" actId="3680"/>
          <ac:graphicFrameMkLst>
            <pc:docMk/>
            <pc:sldMk cId="707751602" sldId="838841335"/>
            <ac:graphicFrameMk id="5" creationId="{6A7E17B3-77E8-43CE-8578-5076D1781401}"/>
          </ac:graphicFrameMkLst>
        </pc:graphicFrameChg>
      </pc:sldChg>
      <pc:sldChg chg="addSp modSp new mod ord">
        <pc:chgData name="Berlow, Jason" userId="2ca71643-eff5-4d67-b81e-ca1c03f44d5e" providerId="ADAL" clId="{A9BB189A-D2B1-4731-8B8F-A4055D2FAE21}" dt="2023-03-10T19:38:38.411" v="1441" actId="20577"/>
        <pc:sldMkLst>
          <pc:docMk/>
          <pc:sldMk cId="1988526871" sldId="838841335"/>
        </pc:sldMkLst>
        <pc:spChg chg="mod">
          <ac:chgData name="Berlow, Jason" userId="2ca71643-eff5-4d67-b81e-ca1c03f44d5e" providerId="ADAL" clId="{A9BB189A-D2B1-4731-8B8F-A4055D2FAE21}" dt="2023-03-01T00:39:39.535" v="369" actId="20577"/>
          <ac:spMkLst>
            <pc:docMk/>
            <pc:sldMk cId="1988526871" sldId="838841335"/>
            <ac:spMk id="2" creationId="{6DE62E62-0726-4B10-AEB4-8D99BB490D1F}"/>
          </ac:spMkLst>
        </pc:spChg>
        <pc:spChg chg="mod">
          <ac:chgData name="Berlow, Jason" userId="2ca71643-eff5-4d67-b81e-ca1c03f44d5e" providerId="ADAL" clId="{A9BB189A-D2B1-4731-8B8F-A4055D2FAE21}" dt="2023-03-01T00:39:44.127" v="371" actId="5793"/>
          <ac:spMkLst>
            <pc:docMk/>
            <pc:sldMk cId="1988526871" sldId="838841335"/>
            <ac:spMk id="3" creationId="{DF91B789-D386-4B5D-9794-93126BC307CF}"/>
          </ac:spMkLst>
        </pc:spChg>
        <pc:graphicFrameChg chg="add mod modGraphic">
          <ac:chgData name="Berlow, Jason" userId="2ca71643-eff5-4d67-b81e-ca1c03f44d5e" providerId="ADAL" clId="{A9BB189A-D2B1-4731-8B8F-A4055D2FAE21}" dt="2023-03-10T19:38:38.411" v="1441" actId="20577"/>
          <ac:graphicFrameMkLst>
            <pc:docMk/>
            <pc:sldMk cId="1988526871" sldId="838841335"/>
            <ac:graphicFrameMk id="5" creationId="{E473637C-8032-4419-B0BC-4BF0EF926EEA}"/>
          </ac:graphicFrameMkLst>
        </pc:graphicFrameChg>
      </pc:sldChg>
      <pc:sldChg chg="modSp add mod">
        <pc:chgData name="Berlow, Jason" userId="2ca71643-eff5-4d67-b81e-ca1c03f44d5e" providerId="ADAL" clId="{A9BB189A-D2B1-4731-8B8F-A4055D2FAE21}" dt="2023-03-01T00:49:31.644" v="744" actId="20577"/>
        <pc:sldMkLst>
          <pc:docMk/>
          <pc:sldMk cId="2802099252" sldId="838841336"/>
        </pc:sldMkLst>
        <pc:spChg chg="mod">
          <ac:chgData name="Berlow, Jason" userId="2ca71643-eff5-4d67-b81e-ca1c03f44d5e" providerId="ADAL" clId="{A9BB189A-D2B1-4731-8B8F-A4055D2FAE21}" dt="2023-03-01T00:49:31.644" v="744" actId="20577"/>
          <ac:spMkLst>
            <pc:docMk/>
            <pc:sldMk cId="2802099252" sldId="838841336"/>
            <ac:spMk id="3" creationId="{53CB5957-0377-498A-B4FA-A6EFBB1F1955}"/>
          </ac:spMkLst>
        </pc:spChg>
      </pc:sldChg>
      <pc:sldChg chg="modSp new del mod ord">
        <pc:chgData name="Berlow, Jason" userId="2ca71643-eff5-4d67-b81e-ca1c03f44d5e" providerId="ADAL" clId="{A9BB189A-D2B1-4731-8B8F-A4055D2FAE21}" dt="2023-03-10T20:06:35.471" v="1539" actId="47"/>
        <pc:sldMkLst>
          <pc:docMk/>
          <pc:sldMk cId="4197677598" sldId="838841337"/>
        </pc:sldMkLst>
        <pc:spChg chg="mod">
          <ac:chgData name="Berlow, Jason" userId="2ca71643-eff5-4d67-b81e-ca1c03f44d5e" providerId="ADAL" clId="{A9BB189A-D2B1-4731-8B8F-A4055D2FAE21}" dt="2023-03-01T00:56:23.846" v="1040" actId="20577"/>
          <ac:spMkLst>
            <pc:docMk/>
            <pc:sldMk cId="4197677598" sldId="838841337"/>
            <ac:spMk id="2" creationId="{C67DC906-A87F-4FF6-ADE9-1D3B050D168A}"/>
          </ac:spMkLst>
        </pc:spChg>
      </pc:sldChg>
      <pc:sldChg chg="addSp delSp modSp new mod">
        <pc:chgData name="Berlow, Jason" userId="2ca71643-eff5-4d67-b81e-ca1c03f44d5e" providerId="ADAL" clId="{A9BB189A-D2B1-4731-8B8F-A4055D2FAE21}" dt="2023-03-01T01:00:18.085" v="1206" actId="13822"/>
        <pc:sldMkLst>
          <pc:docMk/>
          <pc:sldMk cId="4030936921" sldId="838841338"/>
        </pc:sldMkLst>
        <pc:spChg chg="mod">
          <ac:chgData name="Berlow, Jason" userId="2ca71643-eff5-4d67-b81e-ca1c03f44d5e" providerId="ADAL" clId="{A9BB189A-D2B1-4731-8B8F-A4055D2FAE21}" dt="2023-03-01T00:58:07.047" v="1132" actId="20577"/>
          <ac:spMkLst>
            <pc:docMk/>
            <pc:sldMk cId="4030936921" sldId="838841338"/>
            <ac:spMk id="2" creationId="{A28E4F71-A780-4EDF-ABE7-01FCB7FDCF93}"/>
          </ac:spMkLst>
        </pc:spChg>
        <pc:spChg chg="del">
          <ac:chgData name="Berlow, Jason" userId="2ca71643-eff5-4d67-b81e-ca1c03f44d5e" providerId="ADAL" clId="{A9BB189A-D2B1-4731-8B8F-A4055D2FAE21}" dt="2023-03-01T00:58:36.344" v="1133"/>
          <ac:spMkLst>
            <pc:docMk/>
            <pc:sldMk cId="4030936921" sldId="838841338"/>
            <ac:spMk id="3" creationId="{223FF06D-BCC1-4481-BDDD-4FB70EBB97BB}"/>
          </ac:spMkLst>
        </pc:spChg>
        <pc:spChg chg="add del mod">
          <ac:chgData name="Berlow, Jason" userId="2ca71643-eff5-4d67-b81e-ca1c03f44d5e" providerId="ADAL" clId="{A9BB189A-D2B1-4731-8B8F-A4055D2FAE21}" dt="2023-03-01T01:00:01.840" v="1204" actId="20577"/>
          <ac:spMkLst>
            <pc:docMk/>
            <pc:sldMk cId="4030936921" sldId="838841338"/>
            <ac:spMk id="6" creationId="{CE1D0EBC-5D69-4139-B891-7EFAE1C1CFA0}"/>
          </ac:spMkLst>
        </pc:spChg>
        <pc:picChg chg="add mod">
          <ac:chgData name="Berlow, Jason" userId="2ca71643-eff5-4d67-b81e-ca1c03f44d5e" providerId="ADAL" clId="{A9BB189A-D2B1-4731-8B8F-A4055D2FAE21}" dt="2023-03-01T00:58:40.738" v="1134" actId="14100"/>
          <ac:picMkLst>
            <pc:docMk/>
            <pc:sldMk cId="4030936921" sldId="838841338"/>
            <ac:picMk id="5" creationId="{B88D223E-8E20-4EB6-B1C9-EFB52C95BBCD}"/>
          </ac:picMkLst>
        </pc:picChg>
        <pc:cxnChg chg="add mod">
          <ac:chgData name="Berlow, Jason" userId="2ca71643-eff5-4d67-b81e-ca1c03f44d5e" providerId="ADAL" clId="{A9BB189A-D2B1-4731-8B8F-A4055D2FAE21}" dt="2023-03-01T01:00:18.085" v="1206" actId="13822"/>
          <ac:cxnSpMkLst>
            <pc:docMk/>
            <pc:sldMk cId="4030936921" sldId="838841338"/>
            <ac:cxnSpMk id="8" creationId="{691F1642-2482-4A99-82F5-19CC35D04B2A}"/>
          </ac:cxnSpMkLst>
        </pc:cxnChg>
      </pc:sldChg>
      <pc:sldChg chg="addSp modSp new mod">
        <pc:chgData name="Berlow, Jason" userId="2ca71643-eff5-4d67-b81e-ca1c03f44d5e" providerId="ADAL" clId="{A9BB189A-D2B1-4731-8B8F-A4055D2FAE21}" dt="2023-03-11T17:44:18.602" v="2615" actId="1076"/>
        <pc:sldMkLst>
          <pc:docMk/>
          <pc:sldMk cId="717978663" sldId="838841339"/>
        </pc:sldMkLst>
        <pc:spChg chg="mod">
          <ac:chgData name="Berlow, Jason" userId="2ca71643-eff5-4d67-b81e-ca1c03f44d5e" providerId="ADAL" clId="{A9BB189A-D2B1-4731-8B8F-A4055D2FAE21}" dt="2023-03-10T20:09:07.735" v="1620" actId="20577"/>
          <ac:spMkLst>
            <pc:docMk/>
            <pc:sldMk cId="717978663" sldId="838841339"/>
            <ac:spMk id="2" creationId="{612249B2-D0E0-1B91-25E6-882F3D7C4D29}"/>
          </ac:spMkLst>
        </pc:spChg>
        <pc:picChg chg="add mod">
          <ac:chgData name="Berlow, Jason" userId="2ca71643-eff5-4d67-b81e-ca1c03f44d5e" providerId="ADAL" clId="{A9BB189A-D2B1-4731-8B8F-A4055D2FAE21}" dt="2023-03-11T17:44:18.602" v="2615" actId="1076"/>
          <ac:picMkLst>
            <pc:docMk/>
            <pc:sldMk cId="717978663" sldId="838841339"/>
            <ac:picMk id="6" creationId="{FBE7DBD7-D022-487A-F03B-A8B9DAE3377D}"/>
          </ac:picMkLst>
        </pc:picChg>
      </pc:sldChg>
      <pc:sldChg chg="addSp delSp modSp new mod">
        <pc:chgData name="Berlow, Jason" userId="2ca71643-eff5-4d67-b81e-ca1c03f44d5e" providerId="ADAL" clId="{A9BB189A-D2B1-4731-8B8F-A4055D2FAE21}" dt="2023-03-11T18:08:13.925" v="2669" actId="692"/>
        <pc:sldMkLst>
          <pc:docMk/>
          <pc:sldMk cId="2683924939" sldId="838841340"/>
        </pc:sldMkLst>
        <pc:spChg chg="mod">
          <ac:chgData name="Berlow, Jason" userId="2ca71643-eff5-4d67-b81e-ca1c03f44d5e" providerId="ADAL" clId="{A9BB189A-D2B1-4731-8B8F-A4055D2FAE21}" dt="2023-03-11T16:28:20.800" v="1984" actId="20577"/>
          <ac:spMkLst>
            <pc:docMk/>
            <pc:sldMk cId="2683924939" sldId="838841340"/>
            <ac:spMk id="2" creationId="{02D5D576-C212-C6DC-47AB-0DF716E9C155}"/>
          </ac:spMkLst>
        </pc:spChg>
        <pc:spChg chg="del">
          <ac:chgData name="Berlow, Jason" userId="2ca71643-eff5-4d67-b81e-ca1c03f44d5e" providerId="ADAL" clId="{A9BB189A-D2B1-4731-8B8F-A4055D2FAE21}" dt="2023-03-11T16:27:46.475" v="1958" actId="22"/>
          <ac:spMkLst>
            <pc:docMk/>
            <pc:sldMk cId="2683924939" sldId="838841340"/>
            <ac:spMk id="3" creationId="{04FBDFDB-E194-464F-6C83-6ED5EAFF0131}"/>
          </ac:spMkLst>
        </pc:spChg>
        <pc:picChg chg="add mod ord">
          <ac:chgData name="Berlow, Jason" userId="2ca71643-eff5-4d67-b81e-ca1c03f44d5e" providerId="ADAL" clId="{A9BB189A-D2B1-4731-8B8F-A4055D2FAE21}" dt="2023-03-11T16:27:46.475" v="1958" actId="22"/>
          <ac:picMkLst>
            <pc:docMk/>
            <pc:sldMk cId="2683924939" sldId="838841340"/>
            <ac:picMk id="6" creationId="{7B0027E1-FA38-AB99-BB69-3EF430909191}"/>
          </ac:picMkLst>
        </pc:picChg>
        <pc:picChg chg="add mod">
          <ac:chgData name="Berlow, Jason" userId="2ca71643-eff5-4d67-b81e-ca1c03f44d5e" providerId="ADAL" clId="{A9BB189A-D2B1-4731-8B8F-A4055D2FAE21}" dt="2023-03-11T18:08:13.925" v="2669" actId="692"/>
          <ac:picMkLst>
            <pc:docMk/>
            <pc:sldMk cId="2683924939" sldId="838841340"/>
            <ac:picMk id="8" creationId="{D69888F9-BEBB-BCF0-F0E3-F7F9843C68AE}"/>
          </ac:picMkLst>
        </pc:picChg>
      </pc:sldChg>
      <pc:sldChg chg="modSp new mod">
        <pc:chgData name="Berlow, Jason" userId="2ca71643-eff5-4d67-b81e-ca1c03f44d5e" providerId="ADAL" clId="{A9BB189A-D2B1-4731-8B8F-A4055D2FAE21}" dt="2023-03-11T17:38:47.503" v="2610" actId="313"/>
        <pc:sldMkLst>
          <pc:docMk/>
          <pc:sldMk cId="3513874220" sldId="838841341"/>
        </pc:sldMkLst>
        <pc:spChg chg="mod">
          <ac:chgData name="Berlow, Jason" userId="2ca71643-eff5-4d67-b81e-ca1c03f44d5e" providerId="ADAL" clId="{A9BB189A-D2B1-4731-8B8F-A4055D2FAE21}" dt="2023-03-11T17:32:40.487" v="2082" actId="20577"/>
          <ac:spMkLst>
            <pc:docMk/>
            <pc:sldMk cId="3513874220" sldId="838841341"/>
            <ac:spMk id="2" creationId="{D025BAB5-DF5B-A54B-2F3B-E892F11CC237}"/>
          </ac:spMkLst>
        </pc:spChg>
        <pc:spChg chg="mod">
          <ac:chgData name="Berlow, Jason" userId="2ca71643-eff5-4d67-b81e-ca1c03f44d5e" providerId="ADAL" clId="{A9BB189A-D2B1-4731-8B8F-A4055D2FAE21}" dt="2023-03-11T17:38:47.503" v="2610" actId="313"/>
          <ac:spMkLst>
            <pc:docMk/>
            <pc:sldMk cId="3513874220" sldId="838841341"/>
            <ac:spMk id="3" creationId="{51D94C22-A83E-E13A-2EE8-117D7E048F55}"/>
          </ac:spMkLst>
        </pc:spChg>
      </pc:sldChg>
      <pc:sldChg chg="modSp new mod ord">
        <pc:chgData name="Berlow, Jason" userId="2ca71643-eff5-4d67-b81e-ca1c03f44d5e" providerId="ADAL" clId="{A9BB189A-D2B1-4731-8B8F-A4055D2FAE21}" dt="2023-03-13T12:44:03.039" v="2936" actId="20577"/>
        <pc:sldMkLst>
          <pc:docMk/>
          <pc:sldMk cId="800385336" sldId="838841342"/>
        </pc:sldMkLst>
        <pc:spChg chg="mod">
          <ac:chgData name="Berlow, Jason" userId="2ca71643-eff5-4d67-b81e-ca1c03f44d5e" providerId="ADAL" clId="{A9BB189A-D2B1-4731-8B8F-A4055D2FAE21}" dt="2023-03-13T12:44:03.039" v="2936" actId="20577"/>
          <ac:spMkLst>
            <pc:docMk/>
            <pc:sldMk cId="800385336" sldId="838841342"/>
            <ac:spMk id="2" creationId="{11C5D541-8CAD-2B10-B185-F9491CF8F00E}"/>
          </ac:spMkLst>
        </pc:spChg>
        <pc:spChg chg="mod">
          <ac:chgData name="Berlow, Jason" userId="2ca71643-eff5-4d67-b81e-ca1c03f44d5e" providerId="ADAL" clId="{A9BB189A-D2B1-4731-8B8F-A4055D2FAE21}" dt="2023-03-11T18:12:11.640" v="2823" actId="255"/>
          <ac:spMkLst>
            <pc:docMk/>
            <pc:sldMk cId="800385336" sldId="838841342"/>
            <ac:spMk id="3" creationId="{A4D293E5-517E-42F6-FEE2-180717472461}"/>
          </ac:spMkLst>
        </pc:spChg>
      </pc:sldChg>
      <pc:sldChg chg="addSp delSp modSp new mod ord setBg">
        <pc:chgData name="Berlow, Jason" userId="2ca71643-eff5-4d67-b81e-ca1c03f44d5e" providerId="ADAL" clId="{A9BB189A-D2B1-4731-8B8F-A4055D2FAE21}" dt="2023-03-11T18:16:48.189" v="2881" actId="1440"/>
        <pc:sldMkLst>
          <pc:docMk/>
          <pc:sldMk cId="803998748" sldId="838841343"/>
        </pc:sldMkLst>
        <pc:spChg chg="mod">
          <ac:chgData name="Berlow, Jason" userId="2ca71643-eff5-4d67-b81e-ca1c03f44d5e" providerId="ADAL" clId="{A9BB189A-D2B1-4731-8B8F-A4055D2FAE21}" dt="2023-03-11T18:16:42.672" v="2880" actId="26606"/>
          <ac:spMkLst>
            <pc:docMk/>
            <pc:sldMk cId="803998748" sldId="838841343"/>
            <ac:spMk id="2" creationId="{17199DB0-E434-DD6B-0F57-E7C633285977}"/>
          </ac:spMkLst>
        </pc:spChg>
        <pc:spChg chg="mod">
          <ac:chgData name="Berlow, Jason" userId="2ca71643-eff5-4d67-b81e-ca1c03f44d5e" providerId="ADAL" clId="{A9BB189A-D2B1-4731-8B8F-A4055D2FAE21}" dt="2023-03-11T18:16:42.672" v="2880" actId="26606"/>
          <ac:spMkLst>
            <pc:docMk/>
            <pc:sldMk cId="803998748" sldId="838841343"/>
            <ac:spMk id="3" creationId="{59492A64-3CDF-2844-B2F2-C757F88EBC1B}"/>
          </ac:spMkLst>
        </pc:spChg>
        <pc:spChg chg="mod ord">
          <ac:chgData name="Berlow, Jason" userId="2ca71643-eff5-4d67-b81e-ca1c03f44d5e" providerId="ADAL" clId="{A9BB189A-D2B1-4731-8B8F-A4055D2FAE21}" dt="2023-03-11T18:16:42.672" v="2880" actId="26606"/>
          <ac:spMkLst>
            <pc:docMk/>
            <pc:sldMk cId="803998748" sldId="838841343"/>
            <ac:spMk id="4" creationId="{05F41D63-C27E-8748-5BDA-70605B4F26A3}"/>
          </ac:spMkLst>
        </pc:spChg>
        <pc:spChg chg="add del">
          <ac:chgData name="Berlow, Jason" userId="2ca71643-eff5-4d67-b81e-ca1c03f44d5e" providerId="ADAL" clId="{A9BB189A-D2B1-4731-8B8F-A4055D2FAE21}" dt="2023-03-11T18:16:42.672" v="2880" actId="26606"/>
          <ac:spMkLst>
            <pc:docMk/>
            <pc:sldMk cId="803998748" sldId="838841343"/>
            <ac:spMk id="11" creationId="{5E39A796-BE83-48B1-B33F-35C4A32AAB57}"/>
          </ac:spMkLst>
        </pc:spChg>
        <pc:spChg chg="add del">
          <ac:chgData name="Berlow, Jason" userId="2ca71643-eff5-4d67-b81e-ca1c03f44d5e" providerId="ADAL" clId="{A9BB189A-D2B1-4731-8B8F-A4055D2FAE21}" dt="2023-03-11T18:16:42.672" v="2880" actId="26606"/>
          <ac:spMkLst>
            <pc:docMk/>
            <pc:sldMk cId="803998748" sldId="838841343"/>
            <ac:spMk id="13" creationId="{72F84B47-E267-4194-8194-831DB7B5547F}"/>
          </ac:spMkLst>
        </pc:spChg>
        <pc:picChg chg="add mod">
          <ac:chgData name="Berlow, Jason" userId="2ca71643-eff5-4d67-b81e-ca1c03f44d5e" providerId="ADAL" clId="{A9BB189A-D2B1-4731-8B8F-A4055D2FAE21}" dt="2023-03-11T18:16:48.189" v="2881" actId="1440"/>
          <ac:picMkLst>
            <pc:docMk/>
            <pc:sldMk cId="803998748" sldId="838841343"/>
            <ac:picMk id="6" creationId="{2B524647-9C6B-A572-0EE4-F78A7BAFA682}"/>
          </ac:picMkLst>
        </pc:picChg>
      </pc:sldChg>
      <pc:sldChg chg="addSp delSp modSp new mod">
        <pc:chgData name="Berlow, Jason" userId="2ca71643-eff5-4d67-b81e-ca1c03f44d5e" providerId="ADAL" clId="{A9BB189A-D2B1-4731-8B8F-A4055D2FAE21}" dt="2023-03-11T18:26:14.807" v="2917" actId="478"/>
        <pc:sldMkLst>
          <pc:docMk/>
          <pc:sldMk cId="2132216365" sldId="838841344"/>
        </pc:sldMkLst>
        <pc:spChg chg="mod">
          <ac:chgData name="Berlow, Jason" userId="2ca71643-eff5-4d67-b81e-ca1c03f44d5e" providerId="ADAL" clId="{A9BB189A-D2B1-4731-8B8F-A4055D2FAE21}" dt="2023-03-11T18:22:17.056" v="2913" actId="20577"/>
          <ac:spMkLst>
            <pc:docMk/>
            <pc:sldMk cId="2132216365" sldId="838841344"/>
            <ac:spMk id="2" creationId="{70CF6491-5234-9EA9-9EA2-DC72C3555237}"/>
          </ac:spMkLst>
        </pc:spChg>
        <pc:spChg chg="del">
          <ac:chgData name="Berlow, Jason" userId="2ca71643-eff5-4d67-b81e-ca1c03f44d5e" providerId="ADAL" clId="{A9BB189A-D2B1-4731-8B8F-A4055D2FAE21}" dt="2023-03-11T18:25:17.757" v="2914" actId="931"/>
          <ac:spMkLst>
            <pc:docMk/>
            <pc:sldMk cId="2132216365" sldId="838841344"/>
            <ac:spMk id="3" creationId="{A48088E8-C9A3-73FA-5DD3-24CA216C5746}"/>
          </ac:spMkLst>
        </pc:spChg>
        <pc:spChg chg="add del mod">
          <ac:chgData name="Berlow, Jason" userId="2ca71643-eff5-4d67-b81e-ca1c03f44d5e" providerId="ADAL" clId="{A9BB189A-D2B1-4731-8B8F-A4055D2FAE21}" dt="2023-03-11T18:26:14.807" v="2917" actId="478"/>
          <ac:spMkLst>
            <pc:docMk/>
            <pc:sldMk cId="2132216365" sldId="838841344"/>
            <ac:spMk id="8" creationId="{DEBF35BD-55C7-75A3-1F04-750916E8C38C}"/>
          </ac:spMkLst>
        </pc:spChg>
        <pc:picChg chg="add del mod">
          <ac:chgData name="Berlow, Jason" userId="2ca71643-eff5-4d67-b81e-ca1c03f44d5e" providerId="ADAL" clId="{A9BB189A-D2B1-4731-8B8F-A4055D2FAE21}" dt="2023-03-11T18:26:14.807" v="2917" actId="478"/>
          <ac:picMkLst>
            <pc:docMk/>
            <pc:sldMk cId="2132216365" sldId="838841344"/>
            <ac:picMk id="6" creationId="{62E918A6-1788-3F1A-C013-442FF9815A0F}"/>
          </ac:picMkLst>
        </pc:picChg>
      </pc:sldChg>
      <pc:sldChg chg="modSp add mod">
        <pc:chgData name="Berlow, Jason" userId="2ca71643-eff5-4d67-b81e-ca1c03f44d5e" providerId="ADAL" clId="{A9BB189A-D2B1-4731-8B8F-A4055D2FAE21}" dt="2023-03-13T12:49:56.511" v="3099" actId="5793"/>
        <pc:sldMkLst>
          <pc:docMk/>
          <pc:sldMk cId="49269342" sldId="838841345"/>
        </pc:sldMkLst>
        <pc:spChg chg="mod">
          <ac:chgData name="Berlow, Jason" userId="2ca71643-eff5-4d67-b81e-ca1c03f44d5e" providerId="ADAL" clId="{A9BB189A-D2B1-4731-8B8F-A4055D2FAE21}" dt="2023-03-13T12:47:09.912" v="2982" actId="313"/>
          <ac:spMkLst>
            <pc:docMk/>
            <pc:sldMk cId="49269342" sldId="838841345"/>
            <ac:spMk id="2" creationId="{01E46F0A-A153-4CFB-B079-04B42E703F88}"/>
          </ac:spMkLst>
        </pc:spChg>
        <pc:spChg chg="mod">
          <ac:chgData name="Berlow, Jason" userId="2ca71643-eff5-4d67-b81e-ca1c03f44d5e" providerId="ADAL" clId="{A9BB189A-D2B1-4731-8B8F-A4055D2FAE21}" dt="2023-03-13T12:49:56.511" v="3099" actId="5793"/>
          <ac:spMkLst>
            <pc:docMk/>
            <pc:sldMk cId="49269342" sldId="838841345"/>
            <ac:spMk id="3" creationId="{A7B84B02-37E7-47F8-92E8-3189FA07A246}"/>
          </ac:spMkLst>
        </pc:spChg>
      </pc:sldChg>
      <pc:sldChg chg="modSp new mod">
        <pc:chgData name="Berlow, Jason" userId="2ca71643-eff5-4d67-b81e-ca1c03f44d5e" providerId="ADAL" clId="{A9BB189A-D2B1-4731-8B8F-A4055D2FAE21}" dt="2023-03-13T13:02:54.354" v="3886" actId="113"/>
        <pc:sldMkLst>
          <pc:docMk/>
          <pc:sldMk cId="2419615332" sldId="838841346"/>
        </pc:sldMkLst>
        <pc:spChg chg="mod">
          <ac:chgData name="Berlow, Jason" userId="2ca71643-eff5-4d67-b81e-ca1c03f44d5e" providerId="ADAL" clId="{A9BB189A-D2B1-4731-8B8F-A4055D2FAE21}" dt="2023-03-13T12:55:46.870" v="3316" actId="313"/>
          <ac:spMkLst>
            <pc:docMk/>
            <pc:sldMk cId="2419615332" sldId="838841346"/>
            <ac:spMk id="2" creationId="{3667EC44-E8F8-4E0E-6636-31B1B17AFE5B}"/>
          </ac:spMkLst>
        </pc:spChg>
        <pc:spChg chg="mod">
          <ac:chgData name="Berlow, Jason" userId="2ca71643-eff5-4d67-b81e-ca1c03f44d5e" providerId="ADAL" clId="{A9BB189A-D2B1-4731-8B8F-A4055D2FAE21}" dt="2023-03-13T13:02:54.354" v="3886" actId="113"/>
          <ac:spMkLst>
            <pc:docMk/>
            <pc:sldMk cId="2419615332" sldId="838841346"/>
            <ac:spMk id="3" creationId="{4A717EE2-044E-C0B5-3F0F-104A8DB2A136}"/>
          </ac:spMkLst>
        </pc:spChg>
      </pc:sldChg>
    </pc:docChg>
  </pc:docChgLst>
  <pc:docChgLst>
    <pc:chgData name="Negrete, Maria (Titan Alpha)" userId="S::maria.negrete2@va.gov::0a4ba534-701a-455c-bf6c-e730d0a01c09" providerId="AD" clId="Web-{E28AEFA8-AE8F-DF35-DEED-B859D1DBC508}"/>
    <pc:docChg chg="delSld modSld modSection">
      <pc:chgData name="Negrete, Maria (Titan Alpha)" userId="S::maria.negrete2@va.gov::0a4ba534-701a-455c-bf6c-e730d0a01c09" providerId="AD" clId="Web-{E28AEFA8-AE8F-DF35-DEED-B859D1DBC508}" dt="2023-03-02T20:00:50.049" v="2"/>
      <pc:docMkLst>
        <pc:docMk/>
      </pc:docMkLst>
      <pc:sldChg chg="modSp">
        <pc:chgData name="Negrete, Maria (Titan Alpha)" userId="S::maria.negrete2@va.gov::0a4ba534-701a-455c-bf6c-e730d0a01c09" providerId="AD" clId="Web-{E28AEFA8-AE8F-DF35-DEED-B859D1DBC508}" dt="2023-03-02T19:59:44.564" v="1"/>
        <pc:sldMkLst>
          <pc:docMk/>
          <pc:sldMk cId="206297872" sldId="838841326"/>
        </pc:sldMkLst>
        <pc:graphicFrameChg chg="mod modGraphic">
          <ac:chgData name="Negrete, Maria (Titan Alpha)" userId="S::maria.negrete2@va.gov::0a4ba534-701a-455c-bf6c-e730d0a01c09" providerId="AD" clId="Web-{E28AEFA8-AE8F-DF35-DEED-B859D1DBC508}" dt="2023-03-02T19:59:44.564" v="1"/>
          <ac:graphicFrameMkLst>
            <pc:docMk/>
            <pc:sldMk cId="206297872" sldId="838841326"/>
            <ac:graphicFrameMk id="6" creationId="{23426CB8-C0A4-4F29-BD5A-3AD1C06B24D4}"/>
          </ac:graphicFrameMkLst>
        </pc:graphicFrameChg>
      </pc:sldChg>
      <pc:sldChg chg="del">
        <pc:chgData name="Negrete, Maria (Titan Alpha)" userId="S::maria.negrete2@va.gov::0a4ba534-701a-455c-bf6c-e730d0a01c09" providerId="AD" clId="Web-{E28AEFA8-AE8F-DF35-DEED-B859D1DBC508}" dt="2023-03-02T20:00:50.049" v="2"/>
        <pc:sldMkLst>
          <pc:docMk/>
          <pc:sldMk cId="321540503" sldId="838841334"/>
        </pc:sldMkLst>
      </pc:sldChg>
    </pc:docChg>
  </pc:docChgLst>
  <pc:docChgLst>
    <pc:chgData name="Laracuente, Antonio J" userId="S::antonio.laracuente03@va.gov::f26025aa-017e-46da-97dd-4f9d498fb15b" providerId="AD" clId="Web-{30CF89D2-25D1-ED05-0C85-1F51E26B5570}"/>
    <pc:docChg chg="modSld">
      <pc:chgData name="Laracuente, Antonio J" userId="S::antonio.laracuente03@va.gov::f26025aa-017e-46da-97dd-4f9d498fb15b" providerId="AD" clId="Web-{30CF89D2-25D1-ED05-0C85-1F51E26B5570}" dt="2023-03-13T13:24:29.156" v="310" actId="20577"/>
      <pc:docMkLst>
        <pc:docMk/>
      </pc:docMkLst>
      <pc:sldChg chg="modSp">
        <pc:chgData name="Laracuente, Antonio J" userId="S::antonio.laracuente03@va.gov::f26025aa-017e-46da-97dd-4f9d498fb15b" providerId="AD" clId="Web-{30CF89D2-25D1-ED05-0C85-1F51E26B5570}" dt="2023-03-13T13:21:34.950" v="45"/>
        <pc:sldMkLst>
          <pc:docMk/>
          <pc:sldMk cId="206297872" sldId="838841326"/>
        </pc:sldMkLst>
        <pc:graphicFrameChg chg="mod modGraphic">
          <ac:chgData name="Laracuente, Antonio J" userId="S::antonio.laracuente03@va.gov::f26025aa-017e-46da-97dd-4f9d498fb15b" providerId="AD" clId="Web-{30CF89D2-25D1-ED05-0C85-1F51E26B5570}" dt="2023-03-13T13:21:34.950" v="45"/>
          <ac:graphicFrameMkLst>
            <pc:docMk/>
            <pc:sldMk cId="206297872" sldId="838841326"/>
            <ac:graphicFrameMk id="6" creationId="{23426CB8-C0A4-4F29-BD5A-3AD1C06B24D4}"/>
          </ac:graphicFrameMkLst>
        </pc:graphicFrameChg>
      </pc:sldChg>
      <pc:sldChg chg="modSp">
        <pc:chgData name="Laracuente, Antonio J" userId="S::antonio.laracuente03@va.gov::f26025aa-017e-46da-97dd-4f9d498fb15b" providerId="AD" clId="Web-{30CF89D2-25D1-ED05-0C85-1F51E26B5570}" dt="2023-03-13T13:24:29.156" v="310" actId="20577"/>
        <pc:sldMkLst>
          <pc:docMk/>
          <pc:sldMk cId="49269342" sldId="838841345"/>
        </pc:sldMkLst>
        <pc:spChg chg="mod">
          <ac:chgData name="Laracuente, Antonio J" userId="S::antonio.laracuente03@va.gov::f26025aa-017e-46da-97dd-4f9d498fb15b" providerId="AD" clId="Web-{30CF89D2-25D1-ED05-0C85-1F51E26B5570}" dt="2023-03-13T13:24:29.156" v="310" actId="20577"/>
          <ac:spMkLst>
            <pc:docMk/>
            <pc:sldMk cId="49269342" sldId="838841345"/>
            <ac:spMk id="3" creationId="{A7B84B02-37E7-47F8-92E8-3189FA07A24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3/1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dirty="0"/>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dirty="0"/>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36</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37</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062459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3/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3/17/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32276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609D97-D226-48BF-AE87-ACAAF7B82C33}"/>
              </a:ext>
            </a:extLst>
          </p:cNvPr>
          <p:cNvSpPr>
            <a:spLocks noGrp="1"/>
          </p:cNvSpPr>
          <p:nvPr>
            <p:ph type="dt" sz="half" idx="10"/>
          </p:nvPr>
        </p:nvSpPr>
        <p:spPr/>
        <p:txBody>
          <a:bodyPr/>
          <a:lstStyle/>
          <a:p>
            <a:fld id="{26A07DBC-C15D-4BFD-91D0-1C1E9CD2225B}" type="datetimeFigureOut">
              <a:rPr lang="en-US" smtClean="0"/>
              <a:t>3/17/2023</a:t>
            </a:fld>
            <a:endParaRPr lang="en-US" dirty="0"/>
          </a:p>
        </p:txBody>
      </p:sp>
      <p:sp>
        <p:nvSpPr>
          <p:cNvPr id="3" name="Footer Placeholder 2">
            <a:extLst>
              <a:ext uri="{FF2B5EF4-FFF2-40B4-BE49-F238E27FC236}">
                <a16:creationId xmlns:a16="http://schemas.microsoft.com/office/drawing/2014/main" id="{2260C652-8964-4ED3-973B-C2C9CA8E95D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8E37D28-7F21-478F-AA8F-172C90BCB444}"/>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58434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1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 id="2147483684" r:id="rId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hyperlink" Target="https://dvagov.sharepoint.com/:p:/r/sites/vacovhacomm/admin/ORDFinance/Shared%20Documents/Finance%20Process%20Best%20Practice%20Documentation/IAAs/FY%2023%20ORD%20IAA%20Training%20120422.pptx?d=wbacfb2761c0447ad80e507517ee532af&amp;csf=1&amp;web=1&amp;e=tlBAe0"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https://reports.vssc.med.va.gov/ReportServer/Pages/ReportViewer.aspx?%2fFinance%2fFMS+Reports%2fGLTS+Report&amp;rs:Command=Render" TargetMode="External"/><Relationship Id="rId2" Type="http://schemas.openxmlformats.org/officeDocument/2006/relationships/hyperlink" Target="https://reports.vssc.med.va.gov/ReportServer/Pages/ReportViewer.aspx?%2fFinance%2fFMS+Reports%2fREIMB_EARNINGS&amp;rs:Command=Render"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vaww.cfo.med.va.gov/173/Alerts_20/2020_001_Guid-Util-Reimb-Only-RFunds.docx"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vaww.va.gov/fmshome/reimbursementPolicies.asp"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va.gov/finance/docs/VA-FinancialPolicyVolumeIChapter11.pdf"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s://gcc02.safelinks.protection.outlook.com/?url=https%3A%2F%2Fwww.va.gov%2Ffinance%2Fdocs%2FVA-FinancialPolicyVolumeIIChapter04.pdf&amp;data=05%7C01%7C%7C66000dd494cd41da9db408db2178e363%7Ce95f1b23abaf45ee821db7ab251ab3bf%7C0%7C0%7C638140575309889037%7CUnknown%7CTWFpbGZsb3d8eyJWIjoiMC4wLjAwMDAiLCJQIjoiV2luMzIiLCJBTiI6Ik1haWwiLCJXVCI6Mn0%3D%7C3000%7C%7C%7C&amp;sdata=AXmG2LcpQ25K6adMMTfj7PrvOIifXJ63PBdrDChJaGU%3D&amp;reserved=0"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hyperlink" Target="https://dvagov.sharepoint.com/:p:/r/sites/vacovhacomm/admin/ORDFinance/Shared%20Documents/Finance%20Process%20Best%20Practice%20Documentation/IAAs/FY%2023%20ORD%20IAA%20Training%20120422.pptx?d=wbacfb2761c0447ad80e507517ee532af&amp;csf=1&amp;web=1&amp;e=RFzn7Z" TargetMode="External"/><Relationship Id="rId3" Type="http://schemas.openxmlformats.org/officeDocument/2006/relationships/hyperlink" Target="https://vaww.va.gov/fmshome/docs/memoReimbursableOnlyFunds-20170901.pdf" TargetMode="External"/><Relationship Id="rId7" Type="http://schemas.openxmlformats.org/officeDocument/2006/relationships/hyperlink" Target="https://reports.vssc.med.va.gov/ReportServer/Pages/ReportViewer.aspx?%2fFinance%2fFMS+Reports%2fREIMB_EARNINGS&amp;rs:Command=Render" TargetMode="External"/><Relationship Id="rId2" Type="http://schemas.openxmlformats.org/officeDocument/2006/relationships/hyperlink" Target="https://vaww.va.gov/fmshome/reimbursementPolicies.asp" TargetMode="External"/><Relationship Id="rId1" Type="http://schemas.openxmlformats.org/officeDocument/2006/relationships/slideLayout" Target="../slideLayouts/slideLayout3.xml"/><Relationship Id="rId6" Type="http://schemas.openxmlformats.org/officeDocument/2006/relationships/hyperlink" Target="https://vaww.va.gov/fmshome/docs/guideVAintragovernmentalReimbursement.pdf" TargetMode="External"/><Relationship Id="rId5" Type="http://schemas.openxmlformats.org/officeDocument/2006/relationships/hyperlink" Target="https://www.va.gov/finance/docs/VA-FinancialPolicyVolumeIChapter11.pdf" TargetMode="External"/><Relationship Id="rId4" Type="http://schemas.openxmlformats.org/officeDocument/2006/relationships/hyperlink" Target="http://vaww.cfo.med.va.gov/173/Alerts_20/2020_001_Guid-Util-Reimb-Only-RFunds.docx"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www.whitehouse.gov/wp-content/uploads/2018/06/a11.pdf"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dirty="0"/>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150920" y="1204318"/>
            <a:ext cx="11793816" cy="769441"/>
          </a:xfrm>
          <a:prstGeom prst="rect">
            <a:avLst/>
          </a:prstGeom>
          <a:noFill/>
        </p:spPr>
        <p:txBody>
          <a:bodyPr wrap="square" rtlCol="0">
            <a:spAutoFit/>
          </a:bodyPr>
          <a:lstStyle/>
          <a:p>
            <a:pPr algn="ctr"/>
            <a:r>
              <a:rPr lang="en-US" sz="4400" dirty="0"/>
              <a:t>The Reimbursable Process in Research</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dirty="0"/>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March 15, 2023</a:t>
            </a:r>
          </a:p>
          <a:p>
            <a:r>
              <a:rPr lang="en-US" dirty="0"/>
              <a:t>Jason Berlow, Management Analyst, Finance</a:t>
            </a:r>
          </a:p>
          <a:p>
            <a:r>
              <a:rPr lang="en-US" dirty="0"/>
              <a:t>Diane Murphy, Budget Analyst, Finance</a:t>
            </a:r>
          </a:p>
          <a:p>
            <a:r>
              <a:rPr lang="en-US" dirty="0"/>
              <a:t>Tony Laracuente, Director of Field Operations </a:t>
            </a:r>
          </a:p>
          <a:p>
            <a:endParaRPr lang="en-US" dirty="0"/>
          </a:p>
          <a:p>
            <a:endParaRPr lang="en-US" dirty="0"/>
          </a:p>
          <a:p>
            <a:endParaRPr lang="en-US" dirty="0"/>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CDACD-F48C-40A4-AAA8-19EC393CDABC}"/>
              </a:ext>
            </a:extLst>
          </p:cNvPr>
          <p:cNvSpPr>
            <a:spLocks noGrp="1"/>
          </p:cNvSpPr>
          <p:nvPr>
            <p:ph type="title"/>
          </p:nvPr>
        </p:nvSpPr>
        <p:spPr/>
        <p:txBody>
          <a:bodyPr/>
          <a:lstStyle/>
          <a:p>
            <a:r>
              <a:rPr lang="en-US" dirty="0"/>
              <a:t>Reimbursements are authorized in the Medical Research Appropriations language</a:t>
            </a:r>
          </a:p>
        </p:txBody>
      </p:sp>
      <p:sp>
        <p:nvSpPr>
          <p:cNvPr id="3" name="Content Placeholder 2">
            <a:extLst>
              <a:ext uri="{FF2B5EF4-FFF2-40B4-BE49-F238E27FC236}">
                <a16:creationId xmlns:a16="http://schemas.microsoft.com/office/drawing/2014/main" id="{14F89BF7-280E-4ED2-A951-111B02A0DF51}"/>
              </a:ext>
            </a:extLst>
          </p:cNvPr>
          <p:cNvSpPr>
            <a:spLocks noGrp="1"/>
          </p:cNvSpPr>
          <p:nvPr>
            <p:ph idx="1"/>
          </p:nvPr>
        </p:nvSpPr>
        <p:spPr>
          <a:xfrm>
            <a:off x="285750" y="1006867"/>
            <a:ext cx="11068050" cy="4721028"/>
          </a:xfrm>
        </p:spPr>
        <p:txBody>
          <a:bodyPr/>
          <a:lstStyle/>
          <a:p>
            <a:endParaRPr lang="en-US" sz="1800" b="1" dirty="0"/>
          </a:p>
          <a:p>
            <a:pPr marL="0" indent="0">
              <a:buNone/>
            </a:pPr>
            <a:r>
              <a:rPr lang="en-US" sz="1800" b="1" dirty="0"/>
              <a:t>  </a:t>
            </a:r>
          </a:p>
          <a:p>
            <a:endParaRPr lang="en-US" sz="1600" dirty="0"/>
          </a:p>
          <a:p>
            <a:pPr marL="457200" lvl="1" indent="0">
              <a:buNone/>
            </a:pPr>
            <a:r>
              <a:rPr lang="en-US" sz="1200" dirty="0"/>
              <a:t> </a:t>
            </a:r>
          </a:p>
        </p:txBody>
      </p:sp>
      <p:sp>
        <p:nvSpPr>
          <p:cNvPr id="4" name="Slide Number Placeholder 3">
            <a:extLst>
              <a:ext uri="{FF2B5EF4-FFF2-40B4-BE49-F238E27FC236}">
                <a16:creationId xmlns:a16="http://schemas.microsoft.com/office/drawing/2014/main" id="{AC9BE658-4053-4E49-A301-9717DD4B6B6D}"/>
              </a:ext>
            </a:extLst>
          </p:cNvPr>
          <p:cNvSpPr>
            <a:spLocks noGrp="1"/>
          </p:cNvSpPr>
          <p:nvPr>
            <p:ph type="sldNum" sz="quarter" idx="12"/>
          </p:nvPr>
        </p:nvSpPr>
        <p:spPr/>
        <p:txBody>
          <a:bodyPr/>
          <a:lstStyle/>
          <a:p>
            <a:fld id="{670A9334-4E67-F94F-A05E-0CE8B74A054E}" type="slidenum">
              <a:rPr lang="en-US" smtClean="0"/>
              <a:t>10</a:t>
            </a:fld>
            <a:endParaRPr lang="en-US" dirty="0"/>
          </a:p>
        </p:txBody>
      </p:sp>
      <p:sp>
        <p:nvSpPr>
          <p:cNvPr id="5" name="Rectangle 4">
            <a:extLst>
              <a:ext uri="{FF2B5EF4-FFF2-40B4-BE49-F238E27FC236}">
                <a16:creationId xmlns:a16="http://schemas.microsoft.com/office/drawing/2014/main" id="{75510569-069C-4FA4-92C1-A5D2F71CB8AE}"/>
              </a:ext>
            </a:extLst>
          </p:cNvPr>
          <p:cNvSpPr/>
          <p:nvPr/>
        </p:nvSpPr>
        <p:spPr>
          <a:xfrm>
            <a:off x="2014464" y="1662627"/>
            <a:ext cx="7610621" cy="2532184"/>
          </a:xfrm>
          <a:prstGeom prst="rect">
            <a:avLst/>
          </a:prstGeom>
          <a:solidFill>
            <a:schemeClr val="accent5">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MEDICAL AND PROSTHETIC RESEARCH (FY 23 Appropriation) </a:t>
            </a:r>
          </a:p>
          <a:p>
            <a:pPr algn="ctr"/>
            <a:r>
              <a:rPr lang="en-US" dirty="0">
                <a:ln w="0"/>
                <a:solidFill>
                  <a:schemeClr val="tx1"/>
                </a:solidFill>
                <a:effectLst>
                  <a:outerShdw blurRad="38100" dist="19050" dir="2700000" algn="tl" rotWithShape="0">
                    <a:schemeClr val="dk1">
                      <a:alpha val="40000"/>
                    </a:schemeClr>
                  </a:outerShdw>
                </a:effectLst>
              </a:rPr>
              <a:t>For necessary expenses in carrying out programs of  medical and prosthetic research and development as authorized by chapter 73 of title 38, United States Code, $</a:t>
            </a:r>
            <a:r>
              <a:rPr lang="en-US" u="sng" dirty="0">
                <a:ln w="0"/>
                <a:solidFill>
                  <a:schemeClr val="tx1"/>
                </a:solidFill>
                <a:effectLst>
                  <a:outerShdw blurRad="38100" dist="19050" dir="2700000" algn="tl" rotWithShape="0">
                    <a:schemeClr val="dk1">
                      <a:alpha val="40000"/>
                    </a:schemeClr>
                  </a:outerShdw>
                </a:effectLst>
              </a:rPr>
              <a:t>916,000,000,</a:t>
            </a:r>
            <a:r>
              <a:rPr lang="en-US" dirty="0">
                <a:ln w="0"/>
                <a:solidFill>
                  <a:schemeClr val="tx1"/>
                </a:solidFill>
                <a:effectLst>
                  <a:outerShdw blurRad="38100" dist="19050" dir="2700000" algn="tl" rotWithShape="0">
                    <a:schemeClr val="dk1">
                      <a:alpha val="40000"/>
                    </a:schemeClr>
                  </a:outerShdw>
                </a:effectLst>
              </a:rPr>
              <a:t> </a:t>
            </a:r>
            <a:r>
              <a:rPr lang="en-US" dirty="0">
                <a:ln w="0"/>
                <a:solidFill>
                  <a:schemeClr val="tx1"/>
                </a:solidFill>
                <a:effectLst>
                  <a:outerShdw blurRad="38100" dist="19050" dir="2700000" algn="tl" rotWithShape="0">
                    <a:schemeClr val="dk1">
                      <a:alpha val="40000"/>
                    </a:schemeClr>
                  </a:outerShdw>
                </a:effectLst>
                <a:highlight>
                  <a:srgbClr val="808000"/>
                </a:highlight>
              </a:rPr>
              <a:t>plus reimbursements</a:t>
            </a:r>
            <a:r>
              <a:rPr lang="en-US" dirty="0">
                <a:ln w="0"/>
                <a:solidFill>
                  <a:schemeClr val="tx1"/>
                </a:solidFill>
                <a:effectLst>
                  <a:outerShdw blurRad="38100" dist="19050" dir="2700000" algn="tl" rotWithShape="0">
                    <a:schemeClr val="dk1">
                      <a:alpha val="40000"/>
                    </a:schemeClr>
                  </a:outerShdw>
                </a:effectLst>
              </a:rPr>
              <a:t>, shall remain available until September 30, 2024: Provided, That the Secretary of Veterans Affairs shall ensure that sufficient  amounts appropriated under this heading are available for prosthetic research specifically for female veterans, and  for toxic exposure research.</a:t>
            </a:r>
          </a:p>
          <a:p>
            <a:pPr algn="ctr"/>
            <a:endParaRPr lang="en-US" dirty="0"/>
          </a:p>
        </p:txBody>
      </p:sp>
      <p:sp>
        <p:nvSpPr>
          <p:cNvPr id="16" name="Oval 15">
            <a:extLst>
              <a:ext uri="{FF2B5EF4-FFF2-40B4-BE49-F238E27FC236}">
                <a16:creationId xmlns:a16="http://schemas.microsoft.com/office/drawing/2014/main" id="{221B5D2A-1E00-480A-9466-AD698FDDE365}"/>
              </a:ext>
            </a:extLst>
          </p:cNvPr>
          <p:cNvSpPr/>
          <p:nvPr/>
        </p:nvSpPr>
        <p:spPr>
          <a:xfrm>
            <a:off x="6621944" y="4013687"/>
            <a:ext cx="2657154" cy="1181686"/>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Reimbursements</a:t>
            </a:r>
          </a:p>
        </p:txBody>
      </p:sp>
      <p:cxnSp>
        <p:nvCxnSpPr>
          <p:cNvPr id="17" name="Straight Arrow Connector 16">
            <a:extLst>
              <a:ext uri="{FF2B5EF4-FFF2-40B4-BE49-F238E27FC236}">
                <a16:creationId xmlns:a16="http://schemas.microsoft.com/office/drawing/2014/main" id="{03DABD3C-0292-4D2B-814C-C068E5302E39}"/>
              </a:ext>
            </a:extLst>
          </p:cNvPr>
          <p:cNvCxnSpPr>
            <a:cxnSpLocks/>
          </p:cNvCxnSpPr>
          <p:nvPr/>
        </p:nvCxnSpPr>
        <p:spPr>
          <a:xfrm flipH="1" flipV="1">
            <a:off x="6275957" y="2770667"/>
            <a:ext cx="867957" cy="1379900"/>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07591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EC44-E8F8-4E0E-6636-31B1B17AFE5B}"/>
              </a:ext>
            </a:extLst>
          </p:cNvPr>
          <p:cNvSpPr>
            <a:spLocks noGrp="1"/>
          </p:cNvSpPr>
          <p:nvPr>
            <p:ph type="title"/>
          </p:nvPr>
        </p:nvSpPr>
        <p:spPr/>
        <p:txBody>
          <a:bodyPr/>
          <a:lstStyle/>
          <a:p>
            <a:r>
              <a:rPr lang="en-US" dirty="0"/>
              <a:t>Reimbursements and Appropriations Law</a:t>
            </a:r>
          </a:p>
        </p:txBody>
      </p:sp>
      <p:sp>
        <p:nvSpPr>
          <p:cNvPr id="3" name="Content Placeholder 2">
            <a:extLst>
              <a:ext uri="{FF2B5EF4-FFF2-40B4-BE49-F238E27FC236}">
                <a16:creationId xmlns:a16="http://schemas.microsoft.com/office/drawing/2014/main" id="{4A717EE2-044E-C0B5-3F0F-104A8DB2A136}"/>
              </a:ext>
            </a:extLst>
          </p:cNvPr>
          <p:cNvSpPr>
            <a:spLocks noGrp="1"/>
          </p:cNvSpPr>
          <p:nvPr>
            <p:ph idx="1"/>
          </p:nvPr>
        </p:nvSpPr>
        <p:spPr/>
        <p:txBody>
          <a:bodyPr/>
          <a:lstStyle/>
          <a:p>
            <a:r>
              <a:rPr lang="en-US" dirty="0"/>
              <a:t>Reimbursements/Collections are still subject to appropriations law (purpose/time/amount).</a:t>
            </a:r>
          </a:p>
          <a:p>
            <a:r>
              <a:rPr lang="en-US" dirty="0"/>
              <a:t>Any potential obligations with collected funds that are taken into a reimbursable appropriation fund must:</a:t>
            </a:r>
          </a:p>
          <a:p>
            <a:pPr lvl="1"/>
            <a:r>
              <a:rPr lang="en-US" b="1" dirty="0"/>
              <a:t>Purpose: </a:t>
            </a:r>
            <a:r>
              <a:rPr lang="en-US" dirty="0"/>
              <a:t>Be a necessary expense of the Research Appropriation </a:t>
            </a:r>
          </a:p>
          <a:p>
            <a:pPr lvl="1"/>
            <a:r>
              <a:rPr lang="en-US" b="1" dirty="0"/>
              <a:t>Time: </a:t>
            </a:r>
            <a:r>
              <a:rPr lang="en-US" dirty="0"/>
              <a:t>must be obligated during the same period of availability of the original appropriation and be a necessary expense during that time.</a:t>
            </a:r>
          </a:p>
          <a:p>
            <a:pPr lvl="1"/>
            <a:r>
              <a:rPr lang="en-US" b="1" dirty="0"/>
              <a:t>Amount: </a:t>
            </a:r>
            <a:r>
              <a:rPr lang="en-US" dirty="0"/>
              <a:t>Must not exceed the amount of the collected authority.</a:t>
            </a:r>
          </a:p>
          <a:p>
            <a:pPr lvl="1"/>
            <a:endParaRPr lang="en-US" dirty="0"/>
          </a:p>
        </p:txBody>
      </p:sp>
      <p:sp>
        <p:nvSpPr>
          <p:cNvPr id="4" name="Slide Number Placeholder 3">
            <a:extLst>
              <a:ext uri="{FF2B5EF4-FFF2-40B4-BE49-F238E27FC236}">
                <a16:creationId xmlns:a16="http://schemas.microsoft.com/office/drawing/2014/main" id="{507242DB-0462-0580-A93E-9AB894D20987}"/>
              </a:ext>
            </a:extLst>
          </p:cNvPr>
          <p:cNvSpPr>
            <a:spLocks noGrp="1"/>
          </p:cNvSpPr>
          <p:nvPr>
            <p:ph type="sldNum" sz="quarter" idx="12"/>
          </p:nvPr>
        </p:nvSpPr>
        <p:spPr/>
        <p:txBody>
          <a:bodyPr/>
          <a:lstStyle/>
          <a:p>
            <a:fld id="{670A9334-4E67-F94F-A05E-0CE8B74A054E}" type="slidenum">
              <a:rPr lang="en-US" smtClean="0"/>
              <a:t>11</a:t>
            </a:fld>
            <a:endParaRPr lang="en-US" dirty="0"/>
          </a:p>
        </p:txBody>
      </p:sp>
    </p:spTree>
    <p:extLst>
      <p:ext uri="{BB962C8B-B14F-4D97-AF65-F5344CB8AC3E}">
        <p14:creationId xmlns:p14="http://schemas.microsoft.com/office/powerpoint/2010/main" val="2419615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E1194-1790-4104-923A-2B9FE1B66319}"/>
              </a:ext>
            </a:extLst>
          </p:cNvPr>
          <p:cNvSpPr>
            <a:spLocks noGrp="1"/>
          </p:cNvSpPr>
          <p:nvPr>
            <p:ph type="title"/>
          </p:nvPr>
        </p:nvSpPr>
        <p:spPr/>
        <p:txBody>
          <a:bodyPr/>
          <a:lstStyle/>
          <a:p>
            <a:r>
              <a:rPr lang="en-US" dirty="0"/>
              <a:t>FY 24 ORD Budget Justification </a:t>
            </a:r>
          </a:p>
        </p:txBody>
      </p:sp>
      <p:pic>
        <p:nvPicPr>
          <p:cNvPr id="5" name="Content Placeholder 4">
            <a:extLst>
              <a:ext uri="{FF2B5EF4-FFF2-40B4-BE49-F238E27FC236}">
                <a16:creationId xmlns:a16="http://schemas.microsoft.com/office/drawing/2014/main" id="{9B2F13DA-8DD3-4AF0-9A44-65D42DCEE81B}"/>
              </a:ext>
            </a:extLst>
          </p:cNvPr>
          <p:cNvPicPr>
            <a:picLocks noGrp="1" noChangeAspect="1"/>
          </p:cNvPicPr>
          <p:nvPr>
            <p:ph idx="1"/>
          </p:nvPr>
        </p:nvPicPr>
        <p:blipFill>
          <a:blip r:embed="rId2"/>
          <a:stretch>
            <a:fillRect/>
          </a:stretch>
        </p:blipFill>
        <p:spPr>
          <a:xfrm>
            <a:off x="1456923" y="1362075"/>
            <a:ext cx="8344704" cy="4351338"/>
          </a:xfrm>
          <a:prstGeom prst="rect">
            <a:avLst/>
          </a:prstGeom>
        </p:spPr>
      </p:pic>
      <p:sp>
        <p:nvSpPr>
          <p:cNvPr id="4" name="Slide Number Placeholder 3">
            <a:extLst>
              <a:ext uri="{FF2B5EF4-FFF2-40B4-BE49-F238E27FC236}">
                <a16:creationId xmlns:a16="http://schemas.microsoft.com/office/drawing/2014/main" id="{2A16F6F3-7BE1-4FE6-A014-51EE6D921239}"/>
              </a:ext>
            </a:extLst>
          </p:cNvPr>
          <p:cNvSpPr>
            <a:spLocks noGrp="1"/>
          </p:cNvSpPr>
          <p:nvPr>
            <p:ph type="sldNum" sz="quarter" idx="12"/>
          </p:nvPr>
        </p:nvSpPr>
        <p:spPr/>
        <p:txBody>
          <a:bodyPr/>
          <a:lstStyle/>
          <a:p>
            <a:fld id="{670A9334-4E67-F94F-A05E-0CE8B74A054E}" type="slidenum">
              <a:rPr lang="en-US" smtClean="0"/>
              <a:t>12</a:t>
            </a:fld>
            <a:endParaRPr lang="en-US" dirty="0"/>
          </a:p>
        </p:txBody>
      </p:sp>
      <p:sp>
        <p:nvSpPr>
          <p:cNvPr id="6" name="Oval 5">
            <a:extLst>
              <a:ext uri="{FF2B5EF4-FFF2-40B4-BE49-F238E27FC236}">
                <a16:creationId xmlns:a16="http://schemas.microsoft.com/office/drawing/2014/main" id="{04413DB0-B5C6-46B1-9E14-E8A176819FE5}"/>
              </a:ext>
            </a:extLst>
          </p:cNvPr>
          <p:cNvSpPr/>
          <p:nvPr/>
        </p:nvSpPr>
        <p:spPr>
          <a:xfrm>
            <a:off x="8482818" y="3770142"/>
            <a:ext cx="689317" cy="407963"/>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10CED68D-FA3A-444D-887F-795318F9F56E}"/>
              </a:ext>
            </a:extLst>
          </p:cNvPr>
          <p:cNvSpPr/>
          <p:nvPr/>
        </p:nvSpPr>
        <p:spPr>
          <a:xfrm>
            <a:off x="10280958" y="3429000"/>
            <a:ext cx="1613095" cy="7491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imbursable estimate</a:t>
            </a:r>
          </a:p>
        </p:txBody>
      </p:sp>
      <p:cxnSp>
        <p:nvCxnSpPr>
          <p:cNvPr id="9" name="Straight Arrow Connector 8">
            <a:extLst>
              <a:ext uri="{FF2B5EF4-FFF2-40B4-BE49-F238E27FC236}">
                <a16:creationId xmlns:a16="http://schemas.microsoft.com/office/drawing/2014/main" id="{B99BB322-0842-4B17-AE42-ADCF7BDB0A26}"/>
              </a:ext>
            </a:extLst>
          </p:cNvPr>
          <p:cNvCxnSpPr>
            <a:cxnSpLocks/>
            <a:stCxn id="7" idx="1"/>
          </p:cNvCxnSpPr>
          <p:nvPr/>
        </p:nvCxnSpPr>
        <p:spPr>
          <a:xfrm flipH="1">
            <a:off x="8874189" y="3803553"/>
            <a:ext cx="1406769" cy="243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3674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2A511-4E86-44C1-89C9-0D17A729830D}"/>
              </a:ext>
            </a:extLst>
          </p:cNvPr>
          <p:cNvSpPr>
            <a:spLocks noGrp="1"/>
          </p:cNvSpPr>
          <p:nvPr>
            <p:ph type="title"/>
          </p:nvPr>
        </p:nvSpPr>
        <p:spPr/>
        <p:txBody>
          <a:bodyPr/>
          <a:lstStyle/>
          <a:p>
            <a:r>
              <a:rPr lang="en-US" dirty="0"/>
              <a:t>OMB SF-132 (Apportionment)</a:t>
            </a:r>
          </a:p>
        </p:txBody>
      </p:sp>
      <p:pic>
        <p:nvPicPr>
          <p:cNvPr id="6" name="Content Placeholder 5">
            <a:extLst>
              <a:ext uri="{FF2B5EF4-FFF2-40B4-BE49-F238E27FC236}">
                <a16:creationId xmlns:a16="http://schemas.microsoft.com/office/drawing/2014/main" id="{8EE21731-9DA6-4DEB-9291-86E29C3D4D55}"/>
              </a:ext>
            </a:extLst>
          </p:cNvPr>
          <p:cNvPicPr>
            <a:picLocks noGrp="1" noChangeAspect="1"/>
          </p:cNvPicPr>
          <p:nvPr>
            <p:ph idx="1"/>
          </p:nvPr>
        </p:nvPicPr>
        <p:blipFill>
          <a:blip r:embed="rId2"/>
          <a:stretch>
            <a:fillRect/>
          </a:stretch>
        </p:blipFill>
        <p:spPr>
          <a:xfrm>
            <a:off x="1818526" y="1110723"/>
            <a:ext cx="7267825" cy="4636554"/>
          </a:xfrm>
          <a:solidFill>
            <a:schemeClr val="bg1"/>
          </a:solidFill>
          <a:ln w="53975">
            <a:solidFill>
              <a:schemeClr val="accent1">
                <a:alpha val="81000"/>
              </a:schemeClr>
            </a:solidFill>
          </a:ln>
        </p:spPr>
      </p:pic>
      <p:sp>
        <p:nvSpPr>
          <p:cNvPr id="4" name="Slide Number Placeholder 3">
            <a:extLst>
              <a:ext uri="{FF2B5EF4-FFF2-40B4-BE49-F238E27FC236}">
                <a16:creationId xmlns:a16="http://schemas.microsoft.com/office/drawing/2014/main" id="{8A4110AC-13D5-41DD-A7E5-C40986FD8F76}"/>
              </a:ext>
            </a:extLst>
          </p:cNvPr>
          <p:cNvSpPr>
            <a:spLocks noGrp="1"/>
          </p:cNvSpPr>
          <p:nvPr>
            <p:ph type="sldNum" sz="quarter" idx="12"/>
          </p:nvPr>
        </p:nvSpPr>
        <p:spPr/>
        <p:txBody>
          <a:bodyPr/>
          <a:lstStyle/>
          <a:p>
            <a:fld id="{670A9334-4E67-F94F-A05E-0CE8B74A054E}" type="slidenum">
              <a:rPr lang="en-US" smtClean="0"/>
              <a:t>13</a:t>
            </a:fld>
            <a:endParaRPr lang="en-US" dirty="0"/>
          </a:p>
        </p:txBody>
      </p:sp>
      <p:sp>
        <p:nvSpPr>
          <p:cNvPr id="7" name="Rectangle 6">
            <a:extLst>
              <a:ext uri="{FF2B5EF4-FFF2-40B4-BE49-F238E27FC236}">
                <a16:creationId xmlns:a16="http://schemas.microsoft.com/office/drawing/2014/main" id="{4FD16F14-CA1B-4C2F-98D1-B32266104E19}"/>
              </a:ext>
            </a:extLst>
          </p:cNvPr>
          <p:cNvSpPr/>
          <p:nvPr/>
        </p:nvSpPr>
        <p:spPr>
          <a:xfrm>
            <a:off x="9298745" y="3165231"/>
            <a:ext cx="1982079" cy="17303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imbursable spending authority require a signed OMB apportionment</a:t>
            </a:r>
          </a:p>
        </p:txBody>
      </p:sp>
      <p:cxnSp>
        <p:nvCxnSpPr>
          <p:cNvPr id="8" name="Straight Arrow Connector 7">
            <a:extLst>
              <a:ext uri="{FF2B5EF4-FFF2-40B4-BE49-F238E27FC236}">
                <a16:creationId xmlns:a16="http://schemas.microsoft.com/office/drawing/2014/main" id="{E721741D-713A-425E-81D8-96D4AC33E5B6}"/>
              </a:ext>
            </a:extLst>
          </p:cNvPr>
          <p:cNvCxnSpPr>
            <a:cxnSpLocks/>
          </p:cNvCxnSpPr>
          <p:nvPr/>
        </p:nvCxnSpPr>
        <p:spPr>
          <a:xfrm flipH="1">
            <a:off x="8018585" y="4248443"/>
            <a:ext cx="1463040" cy="3516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296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9D4C1-06FB-4F76-8FB7-334A9D9E3970}"/>
              </a:ext>
            </a:extLst>
          </p:cNvPr>
          <p:cNvSpPr>
            <a:spLocks noGrp="1"/>
          </p:cNvSpPr>
          <p:nvPr>
            <p:ph type="title"/>
          </p:nvPr>
        </p:nvSpPr>
        <p:spPr/>
        <p:txBody>
          <a:bodyPr/>
          <a:lstStyle/>
          <a:p>
            <a:r>
              <a:rPr lang="en-US" dirty="0"/>
              <a:t>Section 2: The Process for Billing/Collecting</a:t>
            </a:r>
          </a:p>
        </p:txBody>
      </p:sp>
      <p:sp>
        <p:nvSpPr>
          <p:cNvPr id="4" name="Slide Number Placeholder 3">
            <a:extLst>
              <a:ext uri="{FF2B5EF4-FFF2-40B4-BE49-F238E27FC236}">
                <a16:creationId xmlns:a16="http://schemas.microsoft.com/office/drawing/2014/main" id="{10FFB6E3-8D57-4A37-BCD3-0529A73EC854}"/>
              </a:ext>
            </a:extLst>
          </p:cNvPr>
          <p:cNvSpPr>
            <a:spLocks noGrp="1"/>
          </p:cNvSpPr>
          <p:nvPr>
            <p:ph type="sldNum" sz="quarter" idx="12"/>
          </p:nvPr>
        </p:nvSpPr>
        <p:spPr/>
        <p:txBody>
          <a:bodyPr/>
          <a:lstStyle/>
          <a:p>
            <a:fld id="{670A9334-4E67-F94F-A05E-0CE8B74A054E}" type="slidenum">
              <a:rPr lang="en-US" smtClean="0"/>
              <a:t>14</a:t>
            </a:fld>
            <a:endParaRPr lang="en-US" dirty="0"/>
          </a:p>
        </p:txBody>
      </p:sp>
      <p:pic>
        <p:nvPicPr>
          <p:cNvPr id="7" name="Content Placeholder 6">
            <a:extLst>
              <a:ext uri="{FF2B5EF4-FFF2-40B4-BE49-F238E27FC236}">
                <a16:creationId xmlns:a16="http://schemas.microsoft.com/office/drawing/2014/main" id="{DB476B7D-BEF5-27ED-6F51-34DC3C309A5F}"/>
              </a:ext>
            </a:extLst>
          </p:cNvPr>
          <p:cNvPicPr>
            <a:picLocks noGrp="1" noChangeAspect="1"/>
          </p:cNvPicPr>
          <p:nvPr>
            <p:ph idx="1"/>
          </p:nvPr>
        </p:nvPicPr>
        <p:blipFill>
          <a:blip r:embed="rId2"/>
          <a:stretch>
            <a:fillRect/>
          </a:stretch>
        </p:blipFill>
        <p:spPr>
          <a:xfrm>
            <a:off x="4077390" y="1334276"/>
            <a:ext cx="3060007" cy="4039582"/>
          </a:xfrm>
          <a:solidFill>
            <a:schemeClr val="accent1"/>
          </a:solidFill>
          <a:ln w="41275">
            <a:solidFill>
              <a:schemeClr val="accent1"/>
            </a:solidFill>
          </a:ln>
        </p:spPr>
      </p:pic>
    </p:spTree>
    <p:extLst>
      <p:ext uri="{BB962C8B-B14F-4D97-AF65-F5344CB8AC3E}">
        <p14:creationId xmlns:p14="http://schemas.microsoft.com/office/powerpoint/2010/main" val="982765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99DB0-E434-DD6B-0F57-E7C633285977}"/>
              </a:ext>
            </a:extLst>
          </p:cNvPr>
          <p:cNvSpPr>
            <a:spLocks noGrp="1"/>
          </p:cNvSpPr>
          <p:nvPr>
            <p:ph type="title"/>
          </p:nvPr>
        </p:nvSpPr>
        <p:spPr/>
        <p:txBody>
          <a:bodyPr/>
          <a:lstStyle/>
          <a:p>
            <a:r>
              <a:rPr lang="en-US" dirty="0"/>
              <a:t>Where do I collect my reimbursable funds?</a:t>
            </a:r>
          </a:p>
        </p:txBody>
      </p:sp>
      <p:sp>
        <p:nvSpPr>
          <p:cNvPr id="3" name="Content Placeholder 2">
            <a:extLst>
              <a:ext uri="{FF2B5EF4-FFF2-40B4-BE49-F238E27FC236}">
                <a16:creationId xmlns:a16="http://schemas.microsoft.com/office/drawing/2014/main" id="{59492A64-3CDF-2844-B2F2-C757F88EBC1B}"/>
              </a:ext>
            </a:extLst>
          </p:cNvPr>
          <p:cNvSpPr>
            <a:spLocks noGrp="1"/>
          </p:cNvSpPr>
          <p:nvPr>
            <p:ph idx="1"/>
          </p:nvPr>
        </p:nvSpPr>
        <p:spPr>
          <a:xfrm>
            <a:off x="371475" y="1253331"/>
            <a:ext cx="10515600" cy="4351338"/>
          </a:xfrm>
        </p:spPr>
        <p:txBody>
          <a:bodyPr/>
          <a:lstStyle/>
          <a:p>
            <a:r>
              <a:rPr lang="en-US" sz="2800" kern="1400" dirty="0">
                <a:ea typeface="Times New Roman" panose="02020603050405020304" pitchFamily="18" charset="0"/>
              </a:rPr>
              <a:t>E</a:t>
            </a:r>
            <a:r>
              <a:rPr lang="en-US" sz="2800" kern="1400" dirty="0">
                <a:effectLst/>
                <a:ea typeface="Times New Roman" panose="02020603050405020304" pitchFamily="18" charset="0"/>
              </a:rPr>
              <a:t>ffective FY 2018, all VA Administrations and Staff Offices must record their reimbursable activities using the R1 reimbursable-only fund codes. For Research, this is fund code 0161R1</a:t>
            </a:r>
            <a:r>
              <a:rPr lang="en-US" sz="2800" kern="1400" dirty="0">
                <a:ea typeface="Times New Roman" panose="02020603050405020304" pitchFamily="18" charset="0"/>
              </a:rPr>
              <a:t> and 0161X2. </a:t>
            </a:r>
          </a:p>
          <a:p>
            <a:endParaRPr lang="en-US" dirty="0"/>
          </a:p>
        </p:txBody>
      </p:sp>
      <p:sp>
        <p:nvSpPr>
          <p:cNvPr id="4" name="Slide Number Placeholder 3">
            <a:extLst>
              <a:ext uri="{FF2B5EF4-FFF2-40B4-BE49-F238E27FC236}">
                <a16:creationId xmlns:a16="http://schemas.microsoft.com/office/drawing/2014/main" id="{05F41D63-C27E-8748-5BDA-70605B4F26A3}"/>
              </a:ext>
            </a:extLst>
          </p:cNvPr>
          <p:cNvSpPr>
            <a:spLocks noGrp="1"/>
          </p:cNvSpPr>
          <p:nvPr>
            <p:ph type="sldNum" sz="quarter" idx="12"/>
          </p:nvPr>
        </p:nvSpPr>
        <p:spPr/>
        <p:txBody>
          <a:bodyPr/>
          <a:lstStyle/>
          <a:p>
            <a:fld id="{670A9334-4E67-F94F-A05E-0CE8B74A054E}" type="slidenum">
              <a:rPr lang="en-US" smtClean="0"/>
              <a:t>15</a:t>
            </a:fld>
            <a:endParaRPr lang="en-US" dirty="0"/>
          </a:p>
        </p:txBody>
      </p:sp>
      <p:pic>
        <p:nvPicPr>
          <p:cNvPr id="6" name="Picture 5">
            <a:extLst>
              <a:ext uri="{FF2B5EF4-FFF2-40B4-BE49-F238E27FC236}">
                <a16:creationId xmlns:a16="http://schemas.microsoft.com/office/drawing/2014/main" id="{2B524647-9C6B-A572-0EE4-F78A7BAFA682}"/>
              </a:ext>
            </a:extLst>
          </p:cNvPr>
          <p:cNvPicPr>
            <a:picLocks noChangeAspect="1"/>
          </p:cNvPicPr>
          <p:nvPr/>
        </p:nvPicPr>
        <p:blipFill>
          <a:blip r:embed="rId2"/>
          <a:stretch>
            <a:fillRect/>
          </a:stretch>
        </p:blipFill>
        <p:spPr>
          <a:xfrm>
            <a:off x="4003129" y="2652323"/>
            <a:ext cx="3724281" cy="338233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803998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62E62-0726-4B10-AEB4-8D99BB490D1F}"/>
              </a:ext>
            </a:extLst>
          </p:cNvPr>
          <p:cNvSpPr>
            <a:spLocks noGrp="1"/>
          </p:cNvSpPr>
          <p:nvPr>
            <p:ph type="title"/>
          </p:nvPr>
        </p:nvSpPr>
        <p:spPr/>
        <p:txBody>
          <a:bodyPr/>
          <a:lstStyle/>
          <a:p>
            <a:r>
              <a:rPr lang="en-US" dirty="0"/>
              <a:t>When is a collection required?</a:t>
            </a:r>
          </a:p>
        </p:txBody>
      </p:sp>
      <p:sp>
        <p:nvSpPr>
          <p:cNvPr id="3" name="Content Placeholder 2">
            <a:extLst>
              <a:ext uri="{FF2B5EF4-FFF2-40B4-BE49-F238E27FC236}">
                <a16:creationId xmlns:a16="http://schemas.microsoft.com/office/drawing/2014/main" id="{DF91B789-D386-4B5D-9794-93126BC307CF}"/>
              </a:ext>
            </a:extLst>
          </p:cNvPr>
          <p:cNvSpPr>
            <a:spLocks noGrp="1"/>
          </p:cNvSpPr>
          <p:nvPr>
            <p:ph idx="1"/>
          </p:nvPr>
        </p:nvSpPr>
        <p:spPr/>
        <p:txBody>
          <a:bodyPr/>
          <a:lstStyle/>
          <a:p>
            <a:pPr marL="0" indent="0">
              <a:buNone/>
            </a:pPr>
            <a:endParaRPr lang="en-US" sz="2800" dirty="0">
              <a:solidFill>
                <a:srgbClr val="000000"/>
              </a:solidFill>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A7799865-EF08-446D-9E28-0BFE4FF47726}"/>
              </a:ext>
            </a:extLst>
          </p:cNvPr>
          <p:cNvSpPr>
            <a:spLocks noGrp="1"/>
          </p:cNvSpPr>
          <p:nvPr>
            <p:ph type="sldNum" sz="quarter" idx="12"/>
          </p:nvPr>
        </p:nvSpPr>
        <p:spPr/>
        <p:txBody>
          <a:bodyPr/>
          <a:lstStyle/>
          <a:p>
            <a:fld id="{670A9334-4E67-F94F-A05E-0CE8B74A054E}" type="slidenum">
              <a:rPr lang="en-US" smtClean="0"/>
              <a:t>16</a:t>
            </a:fld>
            <a:endParaRPr lang="en-US" dirty="0"/>
          </a:p>
        </p:txBody>
      </p:sp>
      <p:graphicFrame>
        <p:nvGraphicFramePr>
          <p:cNvPr id="5" name="Table 5">
            <a:extLst>
              <a:ext uri="{FF2B5EF4-FFF2-40B4-BE49-F238E27FC236}">
                <a16:creationId xmlns:a16="http://schemas.microsoft.com/office/drawing/2014/main" id="{E473637C-8032-4419-B0BC-4BF0EF926EEA}"/>
              </a:ext>
            </a:extLst>
          </p:cNvPr>
          <p:cNvGraphicFramePr>
            <a:graphicFrameLocks/>
          </p:cNvGraphicFramePr>
          <p:nvPr>
            <p:extLst>
              <p:ext uri="{D42A27DB-BD31-4B8C-83A1-F6EECF244321}">
                <p14:modId xmlns:p14="http://schemas.microsoft.com/office/powerpoint/2010/main" val="4090021852"/>
              </p:ext>
            </p:extLst>
          </p:nvPr>
        </p:nvGraphicFramePr>
        <p:xfrm>
          <a:off x="940987" y="1291054"/>
          <a:ext cx="10310026" cy="4206240"/>
        </p:xfrm>
        <a:graphic>
          <a:graphicData uri="http://schemas.openxmlformats.org/drawingml/2006/table">
            <a:tbl>
              <a:tblPr firstRow="1" bandRow="1">
                <a:tableStyleId>{5C22544A-7EE6-4342-B048-85BDC9FD1C3A}</a:tableStyleId>
              </a:tblPr>
              <a:tblGrid>
                <a:gridCol w="5052226">
                  <a:extLst>
                    <a:ext uri="{9D8B030D-6E8A-4147-A177-3AD203B41FA5}">
                      <a16:colId xmlns:a16="http://schemas.microsoft.com/office/drawing/2014/main" val="563824096"/>
                    </a:ext>
                  </a:extLst>
                </a:gridCol>
                <a:gridCol w="5257800">
                  <a:extLst>
                    <a:ext uri="{9D8B030D-6E8A-4147-A177-3AD203B41FA5}">
                      <a16:colId xmlns:a16="http://schemas.microsoft.com/office/drawing/2014/main" val="698548743"/>
                    </a:ext>
                  </a:extLst>
                </a:gridCol>
              </a:tblGrid>
              <a:tr h="370840">
                <a:tc>
                  <a:txBody>
                    <a:bodyPr/>
                    <a:lstStyle/>
                    <a:p>
                      <a:pPr algn="ctr"/>
                      <a:r>
                        <a:rPr lang="en-US" sz="2400" dirty="0"/>
                        <a:t>Required</a:t>
                      </a:r>
                    </a:p>
                  </a:txBody>
                  <a:tcPr/>
                </a:tc>
                <a:tc>
                  <a:txBody>
                    <a:bodyPr/>
                    <a:lstStyle/>
                    <a:p>
                      <a:pPr algn="ctr"/>
                      <a:r>
                        <a:rPr lang="en-US" sz="2400" dirty="0"/>
                        <a:t>Not Required</a:t>
                      </a:r>
                    </a:p>
                  </a:txBody>
                  <a:tcPr/>
                </a:tc>
                <a:extLst>
                  <a:ext uri="{0D108BD9-81ED-4DB2-BD59-A6C34878D82A}">
                    <a16:rowId xmlns:a16="http://schemas.microsoft.com/office/drawing/2014/main" val="1569532691"/>
                  </a:ext>
                </a:extLst>
              </a:tr>
              <a:tr h="370840">
                <a:tc>
                  <a:txBody>
                    <a:bodyPr/>
                    <a:lstStyle/>
                    <a:p>
                      <a:pPr marL="285750" indent="-285750">
                        <a:buFont typeface="Arial" panose="020B0604020202020204" pitchFamily="34" charset="0"/>
                        <a:buChar char="•"/>
                      </a:pPr>
                      <a:r>
                        <a:rPr lang="en-US" sz="2000" dirty="0"/>
                        <a:t>Purchasing a service or supplies from another department at your VAMC, such as pharmacy, MRI, X-Ray or laboratory tests.</a:t>
                      </a:r>
                    </a:p>
                    <a:p>
                      <a:pPr marL="285750" indent="-285750">
                        <a:buFont typeface="Arial" panose="020B0604020202020204" pitchFamily="34" charset="0"/>
                        <a:buChar char="•"/>
                      </a:pPr>
                      <a:r>
                        <a:rPr lang="en-US" sz="2000" dirty="0"/>
                        <a:t>Collections from Affiliated Non-Profit Corporations (NPCs).</a:t>
                      </a:r>
                    </a:p>
                    <a:p>
                      <a:pPr marL="285750" indent="-285750">
                        <a:buFont typeface="Arial" panose="020B0604020202020204" pitchFamily="34" charset="0"/>
                        <a:buChar char="•"/>
                      </a:pPr>
                      <a:r>
                        <a:rPr lang="en-US" sz="2000" dirty="0"/>
                        <a:t>Collections from University Affiliates.</a:t>
                      </a:r>
                    </a:p>
                    <a:p>
                      <a:pPr marL="285750" indent="-285750">
                        <a:buFont typeface="Arial" panose="020B0604020202020204" pitchFamily="34" charset="0"/>
                        <a:buChar char="•"/>
                      </a:pPr>
                      <a:r>
                        <a:rPr lang="en-US" sz="2000" dirty="0"/>
                        <a:t>Interagency Agreements (see IAA Training). </a:t>
                      </a:r>
                    </a:p>
                    <a:p>
                      <a:pPr marL="285750" indent="-285750">
                        <a:buFont typeface="Arial" panose="020B0604020202020204" pitchFamily="34" charset="0"/>
                        <a:buChar char="•"/>
                      </a:pPr>
                      <a:endParaRPr lang="en-US" sz="2000" dirty="0"/>
                    </a:p>
                  </a:txBody>
                  <a:tcPr/>
                </a:tc>
                <a:tc>
                  <a:txBody>
                    <a:bodyPr/>
                    <a:lstStyle/>
                    <a:p>
                      <a:pPr marL="285750" indent="-285750">
                        <a:buFont typeface="Arial" panose="020B0604020202020204" pitchFamily="34" charset="0"/>
                        <a:buChar char="•"/>
                      </a:pPr>
                      <a:r>
                        <a:rPr lang="en-US" sz="2000" dirty="0"/>
                        <a:t>Splitting Salary Cost between Research and Clinical, should be done by cost transfers and </a:t>
                      </a:r>
                      <a:r>
                        <a:rPr lang="en-US" sz="2000" b="1" dirty="0"/>
                        <a:t>NOT</a:t>
                      </a:r>
                      <a:r>
                        <a:rPr lang="en-US" sz="2000" dirty="0"/>
                        <a:t> an IAA/G-Invoicing.</a:t>
                      </a:r>
                    </a:p>
                    <a:p>
                      <a:pPr marL="285750" indent="-285750">
                        <a:buFont typeface="Arial" panose="020B0604020202020204" pitchFamily="34" charset="0"/>
                        <a:buChar char="•"/>
                      </a:pPr>
                      <a:r>
                        <a:rPr lang="en-US" sz="2000" kern="1200" dirty="0">
                          <a:solidFill>
                            <a:schemeClr val="dk1"/>
                          </a:solidFill>
                          <a:effectLst/>
                          <a:latin typeface="+mn-lt"/>
                          <a:ea typeface="+mn-ea"/>
                          <a:cs typeface="+mn-cs"/>
                        </a:rPr>
                        <a:t>Cost transfers are the appropriate method when salary is involved  for employees that would otherwise be split in appropriations and no tangible services are involved.</a:t>
                      </a:r>
                      <a:endParaRPr lang="en-US" sz="2000" dirty="0"/>
                    </a:p>
                    <a:p>
                      <a:pPr marL="285750" indent="-285750">
                        <a:buFont typeface="Arial" panose="020B0604020202020204" pitchFamily="34" charset="0"/>
                        <a:buChar char="•"/>
                      </a:pPr>
                      <a:r>
                        <a:rPr lang="en-US" sz="2000" dirty="0"/>
                        <a:t>VHA Finance and FSC have instructed ORD that this activity does not represent an exchange of supplies or services (buy/sell transaction) which would require an IAA.</a:t>
                      </a:r>
                    </a:p>
                    <a:p>
                      <a:pPr marL="285750" indent="-285750">
                        <a:buFont typeface="Arial" panose="020B0604020202020204" pitchFamily="34" charset="0"/>
                        <a:buChar char="•"/>
                      </a:pPr>
                      <a:endParaRPr lang="en-US" sz="2000" dirty="0"/>
                    </a:p>
                  </a:txBody>
                  <a:tcPr/>
                </a:tc>
                <a:extLst>
                  <a:ext uri="{0D108BD9-81ED-4DB2-BD59-A6C34878D82A}">
                    <a16:rowId xmlns:a16="http://schemas.microsoft.com/office/drawing/2014/main" val="2855716560"/>
                  </a:ext>
                </a:extLst>
              </a:tr>
            </a:tbl>
          </a:graphicData>
        </a:graphic>
      </p:graphicFrame>
    </p:spTree>
    <p:extLst>
      <p:ext uri="{BB962C8B-B14F-4D97-AF65-F5344CB8AC3E}">
        <p14:creationId xmlns:p14="http://schemas.microsoft.com/office/powerpoint/2010/main" val="1988526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C4F29-3BA2-466D-B131-92F97F793A93}"/>
              </a:ext>
            </a:extLst>
          </p:cNvPr>
          <p:cNvSpPr>
            <a:spLocks noGrp="1"/>
          </p:cNvSpPr>
          <p:nvPr>
            <p:ph type="title"/>
          </p:nvPr>
        </p:nvSpPr>
        <p:spPr/>
        <p:txBody>
          <a:bodyPr/>
          <a:lstStyle/>
          <a:p>
            <a:r>
              <a:rPr lang="en-US" dirty="0"/>
              <a:t>Working with the NPCs/Foundations (0161X2)</a:t>
            </a:r>
          </a:p>
        </p:txBody>
      </p:sp>
      <p:sp>
        <p:nvSpPr>
          <p:cNvPr id="3" name="Content Placeholder 2">
            <a:extLst>
              <a:ext uri="{FF2B5EF4-FFF2-40B4-BE49-F238E27FC236}">
                <a16:creationId xmlns:a16="http://schemas.microsoft.com/office/drawing/2014/main" id="{767621D6-A700-49A3-B56C-3FA5B416FCE2}"/>
              </a:ext>
            </a:extLst>
          </p:cNvPr>
          <p:cNvSpPr>
            <a:spLocks noGrp="1"/>
          </p:cNvSpPr>
          <p:nvPr>
            <p:ph idx="1"/>
          </p:nvPr>
        </p:nvSpPr>
        <p:spPr/>
        <p:txBody>
          <a:bodyPr vert="horz" lIns="91440" tIns="45720" rIns="91440" bIns="45720" rtlCol="0" anchor="t">
            <a:noAutofit/>
          </a:bodyPr>
          <a:lstStyle/>
          <a:p>
            <a:r>
              <a:rPr lang="en-US" dirty="0"/>
              <a:t>When reimbursing </a:t>
            </a:r>
            <a:r>
              <a:rPr lang="en-US" u="sng" dirty="0"/>
              <a:t>research</a:t>
            </a:r>
            <a:r>
              <a:rPr lang="en-US" dirty="0"/>
              <a:t> use 0161X2. </a:t>
            </a:r>
          </a:p>
          <a:p>
            <a:r>
              <a:rPr lang="en-US" dirty="0"/>
              <a:t>All other NPC Reimbursements should go back directly to the other appropriation 0161R1 accounts:  </a:t>
            </a:r>
            <a:endParaRPr lang="en-US" dirty="0">
              <a:cs typeface="Calibri"/>
            </a:endParaRPr>
          </a:p>
          <a:p>
            <a:pPr lvl="1"/>
            <a:r>
              <a:rPr lang="en-US" dirty="0"/>
              <a:t>The medical care appropriation (0160R1)</a:t>
            </a:r>
            <a:endParaRPr lang="en-US" dirty="0">
              <a:cs typeface="Calibri"/>
            </a:endParaRPr>
          </a:p>
          <a:p>
            <a:r>
              <a:rPr lang="en-US" dirty="0"/>
              <a:t>Required backup documentation.</a:t>
            </a:r>
            <a:endParaRPr lang="en-US" dirty="0">
              <a:cs typeface="Calibri"/>
            </a:endParaRPr>
          </a:p>
          <a:p>
            <a:pPr lvl="1"/>
            <a:r>
              <a:rPr lang="en-US" dirty="0"/>
              <a:t>MOU outlining the need for reimbursement and the authority will be required when auditing bill</a:t>
            </a:r>
            <a:endParaRPr lang="en-US" dirty="0">
              <a:cs typeface="Calibri"/>
            </a:endParaRPr>
          </a:p>
          <a:p>
            <a:r>
              <a:rPr lang="en-US" dirty="0"/>
              <a:t>Fund control point should be established in the 0161X2 appropriation as no year funding.</a:t>
            </a:r>
            <a:endParaRPr lang="en-US" dirty="0">
              <a:cs typeface="Calibri"/>
            </a:endParaRPr>
          </a:p>
          <a:p>
            <a:endParaRPr lang="en-US" dirty="0"/>
          </a:p>
          <a:p>
            <a:endParaRPr lang="en-US" dirty="0"/>
          </a:p>
          <a:p>
            <a:endParaRPr lang="en-US" dirty="0"/>
          </a:p>
        </p:txBody>
      </p:sp>
    </p:spTree>
    <p:extLst>
      <p:ext uri="{BB962C8B-B14F-4D97-AF65-F5344CB8AC3E}">
        <p14:creationId xmlns:p14="http://schemas.microsoft.com/office/powerpoint/2010/main" val="3993648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6F0A-A153-4CFB-B079-04B42E703F88}"/>
              </a:ext>
            </a:extLst>
          </p:cNvPr>
          <p:cNvSpPr>
            <a:spLocks noGrp="1"/>
          </p:cNvSpPr>
          <p:nvPr>
            <p:ph type="title"/>
          </p:nvPr>
        </p:nvSpPr>
        <p:spPr/>
        <p:txBody>
          <a:bodyPr/>
          <a:lstStyle/>
          <a:p>
            <a:r>
              <a:rPr lang="en-US" dirty="0"/>
              <a:t>University Bills (0161R1) </a:t>
            </a:r>
          </a:p>
        </p:txBody>
      </p:sp>
      <p:sp>
        <p:nvSpPr>
          <p:cNvPr id="3" name="Content Placeholder 2">
            <a:extLst>
              <a:ext uri="{FF2B5EF4-FFF2-40B4-BE49-F238E27FC236}">
                <a16:creationId xmlns:a16="http://schemas.microsoft.com/office/drawing/2014/main" id="{A7B84B02-37E7-47F8-92E8-3189FA07A246}"/>
              </a:ext>
            </a:extLst>
          </p:cNvPr>
          <p:cNvSpPr>
            <a:spLocks noGrp="1"/>
          </p:cNvSpPr>
          <p:nvPr>
            <p:ph idx="1"/>
          </p:nvPr>
        </p:nvSpPr>
        <p:spPr/>
        <p:txBody>
          <a:bodyPr>
            <a:normAutofit fontScale="92500" lnSpcReduction="10000"/>
          </a:bodyPr>
          <a:lstStyle/>
          <a:p>
            <a:r>
              <a:rPr lang="en-US" dirty="0"/>
              <a:t>A Bills of Collection when the Research appropriation requires reimbursement from a University affiliate for costs incurred. </a:t>
            </a:r>
          </a:p>
          <a:p>
            <a:pPr lvl="1"/>
            <a:r>
              <a:rPr lang="en-US" dirty="0"/>
              <a:t>Examples include salary, animal per diems, core services, etc. </a:t>
            </a:r>
          </a:p>
          <a:p>
            <a:r>
              <a:rPr lang="en-US" dirty="0"/>
              <a:t>To initiate a bill of collection, you must have the </a:t>
            </a:r>
            <a:r>
              <a:rPr lang="en-US" b="1" dirty="0"/>
              <a:t>billing menu </a:t>
            </a:r>
            <a:r>
              <a:rPr lang="en-US" dirty="0"/>
              <a:t>in ViSTA. The entity being billed must be vendorized in the VA system. </a:t>
            </a:r>
          </a:p>
          <a:p>
            <a:r>
              <a:rPr lang="en-US" dirty="0"/>
              <a:t>If you are billing to the University, be sure to bill your 0161R1 fund control point. </a:t>
            </a:r>
          </a:p>
          <a:p>
            <a:r>
              <a:rPr lang="en-US" dirty="0"/>
              <a:t>All reimbursements from your affiliate should come through the 0161R1 fund (not 0161X2). These are sent through a TDA each month. You should not be depositing checks from the affiliate directly into a fund control point.</a:t>
            </a:r>
          </a:p>
        </p:txBody>
      </p:sp>
    </p:spTree>
    <p:extLst>
      <p:ext uri="{BB962C8B-B14F-4D97-AF65-F5344CB8AC3E}">
        <p14:creationId xmlns:p14="http://schemas.microsoft.com/office/powerpoint/2010/main" val="5929736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6F0A-A153-4CFB-B079-04B42E703F88}"/>
              </a:ext>
            </a:extLst>
          </p:cNvPr>
          <p:cNvSpPr>
            <a:spLocks noGrp="1"/>
          </p:cNvSpPr>
          <p:nvPr>
            <p:ph type="title"/>
          </p:nvPr>
        </p:nvSpPr>
        <p:spPr/>
        <p:txBody>
          <a:bodyPr/>
          <a:lstStyle/>
          <a:p>
            <a:r>
              <a:rPr lang="en-US" dirty="0"/>
              <a:t>Reimbursement (0160R1) </a:t>
            </a:r>
          </a:p>
        </p:txBody>
      </p:sp>
      <p:sp>
        <p:nvSpPr>
          <p:cNvPr id="3" name="Content Placeholder 2">
            <a:extLst>
              <a:ext uri="{FF2B5EF4-FFF2-40B4-BE49-F238E27FC236}">
                <a16:creationId xmlns:a16="http://schemas.microsoft.com/office/drawing/2014/main" id="{A7B84B02-37E7-47F8-92E8-3189FA07A246}"/>
              </a:ext>
            </a:extLst>
          </p:cNvPr>
          <p:cNvSpPr>
            <a:spLocks noGrp="1"/>
          </p:cNvSpPr>
          <p:nvPr>
            <p:ph idx="1"/>
          </p:nvPr>
        </p:nvSpPr>
        <p:spPr/>
        <p:txBody>
          <a:bodyPr vert="horz" lIns="91440" tIns="45720" rIns="91440" bIns="45720" rtlCol="0" anchor="t">
            <a:normAutofit/>
          </a:bodyPr>
          <a:lstStyle/>
          <a:p>
            <a:r>
              <a:rPr lang="en-US" dirty="0"/>
              <a:t> Bill of Collections when the Medical Services appropriation requires reimbursement from an outside entity including the VA NPC for costs incurred. </a:t>
            </a:r>
            <a:endParaRPr lang="en-US" dirty="0">
              <a:cs typeface="Calibri" panose="020F0502020204030204"/>
            </a:endParaRPr>
          </a:p>
          <a:p>
            <a:pPr lvl="1"/>
            <a:r>
              <a:rPr lang="en-US" dirty="0"/>
              <a:t>Examples include pharmacy or clinical costs incurred which need to be billed to an outside entity.</a:t>
            </a:r>
            <a:endParaRPr lang="en-US" dirty="0">
              <a:cs typeface="Calibri"/>
            </a:endParaRPr>
          </a:p>
          <a:p>
            <a:pPr lvl="1"/>
            <a:r>
              <a:rPr lang="en-US" dirty="0">
                <a:cs typeface="Calibri"/>
              </a:rPr>
              <a:t>A Bill of Collection is created using the pharmacy or clinical FCP</a:t>
            </a:r>
          </a:p>
          <a:p>
            <a:pPr lvl="1"/>
            <a:endParaRPr lang="en-US" dirty="0">
              <a:cs typeface="Calibri"/>
            </a:endParaRPr>
          </a:p>
          <a:p>
            <a:pPr marL="0" indent="0">
              <a:buNone/>
            </a:pPr>
            <a:endParaRPr lang="en-US" dirty="0">
              <a:cs typeface="Calibri"/>
            </a:endParaRPr>
          </a:p>
        </p:txBody>
      </p:sp>
    </p:spTree>
    <p:extLst>
      <p:ext uri="{BB962C8B-B14F-4D97-AF65-F5344CB8AC3E}">
        <p14:creationId xmlns:p14="http://schemas.microsoft.com/office/powerpoint/2010/main" val="49269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t>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a:t>
            </a:r>
            <a:r>
              <a:rPr lang="en-US" sz="1600" dirty="0">
                <a:solidFill>
                  <a:prstClr val="black"/>
                </a:solidFill>
                <a:latin typeface="Calibri" panose="020F0502020204030204"/>
              </a:rPr>
              <a:t>is being record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Close Captioning </a:t>
            </a:r>
            <a:r>
              <a:rPr lang="en-US" sz="1600" dirty="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dirty="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a:t>
            </a:r>
            <a:r>
              <a:rPr lang="en-US" sz="1600" b="1" dirty="0">
                <a:solidFill>
                  <a:prstClr val="black"/>
                </a:solidFill>
                <a:latin typeface="Calibri" panose="020F0502020204030204"/>
              </a:rPr>
              <a:t>I</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dirty="0">
                <a:solidFill>
                  <a:srgbClr val="FF0000"/>
                </a:solidFill>
                <a:latin typeface="Calibri" panose="020F0502020204030204"/>
              </a:rPr>
              <a:t>Questions will be addressed at the end of the webinar.</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P</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ost-Webinar </a:t>
            </a:r>
            <a:r>
              <a:rPr lang="en-US" sz="1600" b="1" dirty="0">
                <a:solidFill>
                  <a:prstClr val="black"/>
                </a:solidFill>
                <a:latin typeface="Calibri" panose="020F0502020204030204"/>
              </a:rPr>
              <a:t>E</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p:txBody>
          <a:bodyPr/>
          <a:lstStyle/>
          <a:p>
            <a:r>
              <a:rPr lang="en-US" dirty="0"/>
              <a:t>Determine Collections Type</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a:lstStyle/>
          <a:p>
            <a:pPr lvl="1"/>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20</a:t>
            </a:fld>
            <a:endParaRPr lang="en-US" dirty="0"/>
          </a:p>
        </p:txBody>
      </p:sp>
      <p:graphicFrame>
        <p:nvGraphicFramePr>
          <p:cNvPr id="8" name="Table 8">
            <a:extLst>
              <a:ext uri="{FF2B5EF4-FFF2-40B4-BE49-F238E27FC236}">
                <a16:creationId xmlns:a16="http://schemas.microsoft.com/office/drawing/2014/main" id="{D73BE7DA-46BF-4C43-B474-70E8AF0E426C}"/>
              </a:ext>
            </a:extLst>
          </p:cNvPr>
          <p:cNvGraphicFramePr>
            <a:graphicFrameLocks noGrp="1"/>
          </p:cNvGraphicFramePr>
          <p:nvPr>
            <p:extLst>
              <p:ext uri="{D42A27DB-BD31-4B8C-83A1-F6EECF244321}">
                <p14:modId xmlns:p14="http://schemas.microsoft.com/office/powerpoint/2010/main" val="897577701"/>
              </p:ext>
            </p:extLst>
          </p:nvPr>
        </p:nvGraphicFramePr>
        <p:xfrm>
          <a:off x="2066524" y="960120"/>
          <a:ext cx="9287276" cy="4572000"/>
        </p:xfrm>
        <a:graphic>
          <a:graphicData uri="http://schemas.openxmlformats.org/drawingml/2006/table">
            <a:tbl>
              <a:tblPr firstRow="1" bandRow="1">
                <a:tableStyleId>{5C22544A-7EE6-4342-B048-85BDC9FD1C3A}</a:tableStyleId>
              </a:tblPr>
              <a:tblGrid>
                <a:gridCol w="2321819">
                  <a:extLst>
                    <a:ext uri="{9D8B030D-6E8A-4147-A177-3AD203B41FA5}">
                      <a16:colId xmlns:a16="http://schemas.microsoft.com/office/drawing/2014/main" val="3566799646"/>
                    </a:ext>
                  </a:extLst>
                </a:gridCol>
                <a:gridCol w="2321819">
                  <a:extLst>
                    <a:ext uri="{9D8B030D-6E8A-4147-A177-3AD203B41FA5}">
                      <a16:colId xmlns:a16="http://schemas.microsoft.com/office/drawing/2014/main" val="3090124983"/>
                    </a:ext>
                  </a:extLst>
                </a:gridCol>
                <a:gridCol w="1548467">
                  <a:extLst>
                    <a:ext uri="{9D8B030D-6E8A-4147-A177-3AD203B41FA5}">
                      <a16:colId xmlns:a16="http://schemas.microsoft.com/office/drawing/2014/main" val="864438044"/>
                    </a:ext>
                  </a:extLst>
                </a:gridCol>
                <a:gridCol w="3095171">
                  <a:extLst>
                    <a:ext uri="{9D8B030D-6E8A-4147-A177-3AD203B41FA5}">
                      <a16:colId xmlns:a16="http://schemas.microsoft.com/office/drawing/2014/main" val="2905709727"/>
                    </a:ext>
                  </a:extLst>
                </a:gridCol>
              </a:tblGrid>
              <a:tr h="370840">
                <a:tc>
                  <a:txBody>
                    <a:bodyPr/>
                    <a:lstStyle/>
                    <a:p>
                      <a:r>
                        <a:rPr lang="en-US" dirty="0"/>
                        <a:t>FMS Transaction</a:t>
                      </a:r>
                    </a:p>
                  </a:txBody>
                  <a:tcPr/>
                </a:tc>
                <a:tc>
                  <a:txBody>
                    <a:bodyPr/>
                    <a:lstStyle/>
                    <a:p>
                      <a:r>
                        <a:rPr lang="en-US" dirty="0"/>
                        <a:t>Agreement Type/Process</a:t>
                      </a:r>
                    </a:p>
                  </a:txBody>
                  <a:tcPr/>
                </a:tc>
                <a:tc>
                  <a:txBody>
                    <a:bodyPr/>
                    <a:lstStyle/>
                    <a:p>
                      <a:r>
                        <a:rPr lang="en-US" dirty="0"/>
                        <a:t>General Ledger Posting</a:t>
                      </a:r>
                    </a:p>
                  </a:txBody>
                  <a:tcPr/>
                </a:tc>
                <a:tc>
                  <a:txBody>
                    <a:bodyPr/>
                    <a:lstStyle/>
                    <a:p>
                      <a:r>
                        <a:rPr lang="en-US" dirty="0"/>
                        <a:t>TDA</a:t>
                      </a:r>
                    </a:p>
                  </a:txBody>
                  <a:tcPr/>
                </a:tc>
                <a:extLst>
                  <a:ext uri="{0D108BD9-81ED-4DB2-BD59-A6C34878D82A}">
                    <a16:rowId xmlns:a16="http://schemas.microsoft.com/office/drawing/2014/main" val="266945201"/>
                  </a:ext>
                </a:extLst>
              </a:tr>
              <a:tr h="370840">
                <a:tc>
                  <a:txBody>
                    <a:bodyPr/>
                    <a:lstStyle/>
                    <a:p>
                      <a:r>
                        <a:rPr lang="en-US" dirty="0"/>
                        <a:t>IAA/Reimbursable Agreement (RA)</a:t>
                      </a:r>
                    </a:p>
                  </a:txBody>
                  <a:tcPr/>
                </a:tc>
                <a:tc>
                  <a:txBody>
                    <a:bodyPr/>
                    <a:lstStyle/>
                    <a:p>
                      <a:r>
                        <a:rPr lang="en-US" dirty="0"/>
                        <a:t>Anticipated Collection</a:t>
                      </a:r>
                    </a:p>
                  </a:txBody>
                  <a:tcPr/>
                </a:tc>
                <a:tc>
                  <a:txBody>
                    <a:bodyPr/>
                    <a:lstStyle/>
                    <a:p>
                      <a:r>
                        <a:rPr lang="en-US" dirty="0"/>
                        <a:t>Debit: 4221</a:t>
                      </a:r>
                    </a:p>
                    <a:p>
                      <a:r>
                        <a:rPr lang="en-US" dirty="0"/>
                        <a:t>Credit: 4210</a:t>
                      </a:r>
                    </a:p>
                  </a:txBody>
                  <a:tcPr/>
                </a:tc>
                <a:tc rowSpan="2">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b="0" i="0" kern="1200" dirty="0">
                          <a:solidFill>
                            <a:schemeClr val="dk1"/>
                          </a:solidFill>
                          <a:effectLst/>
                          <a:latin typeface="+mn-lt"/>
                          <a:ea typeface="+mn-ea"/>
                          <a:cs typeface="+mn-cs"/>
                        </a:rPr>
                        <a:t>VHA Finance will process an automatic TDA to reimburse the stations for the amounts earned in the month following the collection, the amount earned is determined by the balances in the 425* general ledgers.</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b="1" i="0" kern="1200" dirty="0">
                          <a:solidFill>
                            <a:schemeClr val="dk1"/>
                          </a:solidFill>
                          <a:effectLst/>
                          <a:latin typeface="+mn-lt"/>
                          <a:ea typeface="+mn-ea"/>
                          <a:cs typeface="+mn-cs"/>
                        </a:rPr>
                        <a:t>For advance collections IAAs please refer to IAA training, as it is not an automatic TDA.</a:t>
                      </a:r>
                      <a:endParaRPr lang="en-US" dirty="0"/>
                    </a:p>
                  </a:txBody>
                  <a:tcPr/>
                </a:tc>
                <a:extLst>
                  <a:ext uri="{0D108BD9-81ED-4DB2-BD59-A6C34878D82A}">
                    <a16:rowId xmlns:a16="http://schemas.microsoft.com/office/drawing/2014/main" val="1212438931"/>
                  </a:ext>
                </a:extLst>
              </a:tr>
              <a:tr h="370840">
                <a:tc>
                  <a:txBody>
                    <a:bodyPr/>
                    <a:lstStyle/>
                    <a:p>
                      <a:r>
                        <a:rPr lang="en-US" dirty="0"/>
                        <a:t>Bill of Collection Transaction </a:t>
                      </a:r>
                    </a:p>
                  </a:txBody>
                  <a:tcPr/>
                </a:tc>
                <a:tc>
                  <a:txBody>
                    <a:bodyPr/>
                    <a:lstStyle/>
                    <a:p>
                      <a:r>
                        <a:rPr lang="en-US" sz="1800" b="0" i="0" kern="1200" dirty="0">
                          <a:solidFill>
                            <a:schemeClr val="dk1"/>
                          </a:solidFill>
                          <a:effectLst/>
                          <a:latin typeface="+mn-lt"/>
                          <a:ea typeface="+mn-ea"/>
                          <a:cs typeface="+mn-cs"/>
                        </a:rPr>
                        <a:t>Billing Document (BD) – established receivable for billed amounts for services from other VHA Offices, Universities, and NPCs.</a:t>
                      </a:r>
                      <a:endParaRPr lang="en-US" dirty="0"/>
                    </a:p>
                  </a:txBody>
                  <a:tcPr/>
                </a:tc>
                <a:tc>
                  <a:txBody>
                    <a:bodyPr/>
                    <a:lstStyle/>
                    <a:p>
                      <a:r>
                        <a:rPr lang="en-US" dirty="0"/>
                        <a:t>Debit: 1310/425G</a:t>
                      </a:r>
                    </a:p>
                    <a:p>
                      <a:r>
                        <a:rPr lang="en-US" dirty="0"/>
                        <a:t>Credit: 5200/4221</a:t>
                      </a:r>
                    </a:p>
                  </a:txBody>
                  <a:tcPr/>
                </a:tc>
                <a:tc vMerge="1">
                  <a:txBody>
                    <a:bodyPr/>
                    <a:lstStyle/>
                    <a:p>
                      <a:pPr marL="0" marR="0" lvl="0" indent="0" algn="l" rtl="0" eaLnBrk="1" fontAlgn="auto" latinLnBrk="0" hangingPunct="1">
                        <a:lnSpc>
                          <a:spcPct val="100000"/>
                        </a:lnSpc>
                        <a:spcBef>
                          <a:spcPts val="0"/>
                        </a:spcBef>
                        <a:spcAft>
                          <a:spcPts val="0"/>
                        </a:spcAft>
                        <a:buClrTx/>
                        <a:buSzTx/>
                        <a:buFontTx/>
                        <a:buNone/>
                      </a:pPr>
                      <a:r>
                        <a:rPr lang="en-US" sz="1800" b="0" i="0" kern="1200" dirty="0">
                          <a:solidFill>
                            <a:schemeClr val="dk1"/>
                          </a:solidFill>
                          <a:effectLst/>
                          <a:latin typeface="+mn-lt"/>
                          <a:ea typeface="+mn-ea"/>
                          <a:cs typeface="+mn-cs"/>
                        </a:rPr>
                        <a:t>VHA Finance will process an automatic  TDA to reimburse the stations for the amounts earned in the month following the colle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The amount earned is determined by the balances in the 425* general ledgers</a:t>
                      </a:r>
                      <a:endParaRPr lang="en-US" dirty="0"/>
                    </a:p>
                    <a:p>
                      <a:endParaRPr lang="en-US" dirty="0"/>
                    </a:p>
                  </a:txBody>
                  <a:tcPr/>
                </a:tc>
                <a:extLst>
                  <a:ext uri="{0D108BD9-81ED-4DB2-BD59-A6C34878D82A}">
                    <a16:rowId xmlns:a16="http://schemas.microsoft.com/office/drawing/2014/main" val="3404255333"/>
                  </a:ext>
                </a:extLst>
              </a:tr>
            </a:tbl>
          </a:graphicData>
        </a:graphic>
      </p:graphicFrame>
      <p:sp>
        <p:nvSpPr>
          <p:cNvPr id="6" name="Rectangle 5">
            <a:extLst>
              <a:ext uri="{FF2B5EF4-FFF2-40B4-BE49-F238E27FC236}">
                <a16:creationId xmlns:a16="http://schemas.microsoft.com/office/drawing/2014/main" id="{8AEE8298-F633-4B66-93D6-C2EB42A322E3}"/>
              </a:ext>
            </a:extLst>
          </p:cNvPr>
          <p:cNvSpPr/>
          <p:nvPr/>
        </p:nvSpPr>
        <p:spPr>
          <a:xfrm>
            <a:off x="104297" y="1420582"/>
            <a:ext cx="1599321" cy="1061942"/>
          </a:xfrm>
          <a:prstGeom prst="rect">
            <a:avLst/>
          </a:prstGeom>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hlinkClick r:id="rId2">
                  <a:extLst>
                    <a:ext uri="{A12FA001-AC4F-418D-AE19-62706E023703}">
                      <ahyp:hlinkClr xmlns:ahyp="http://schemas.microsoft.com/office/drawing/2018/hyperlinkcolor" val="tx"/>
                    </a:ext>
                  </a:extLst>
                </a:hlinkClick>
              </a:rPr>
              <a:t>See October 2022 Training on IAAs</a:t>
            </a:r>
            <a:endParaRPr lang="en-US" dirty="0">
              <a:solidFill>
                <a:schemeClr val="bg1"/>
              </a:solidFill>
            </a:endParaRPr>
          </a:p>
        </p:txBody>
      </p:sp>
      <p:cxnSp>
        <p:nvCxnSpPr>
          <p:cNvPr id="9" name="Straight Arrow Connector 8">
            <a:extLst>
              <a:ext uri="{FF2B5EF4-FFF2-40B4-BE49-F238E27FC236}">
                <a16:creationId xmlns:a16="http://schemas.microsoft.com/office/drawing/2014/main" id="{D0B9EEA4-51A1-4EE5-BDF0-88A00F434BA2}"/>
              </a:ext>
            </a:extLst>
          </p:cNvPr>
          <p:cNvCxnSpPr>
            <a:cxnSpLocks/>
            <a:stCxn id="6" idx="3"/>
          </p:cNvCxnSpPr>
          <p:nvPr/>
        </p:nvCxnSpPr>
        <p:spPr>
          <a:xfrm>
            <a:off x="1703618" y="1951553"/>
            <a:ext cx="362906" cy="31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146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8DE6C-2736-4402-BB72-4C89A34E7BBB}"/>
              </a:ext>
            </a:extLst>
          </p:cNvPr>
          <p:cNvSpPr>
            <a:spLocks noGrp="1"/>
          </p:cNvSpPr>
          <p:nvPr>
            <p:ph type="title"/>
          </p:nvPr>
        </p:nvSpPr>
        <p:spPr/>
        <p:txBody>
          <a:bodyPr/>
          <a:lstStyle/>
          <a:p>
            <a:r>
              <a:rPr lang="en-US" dirty="0"/>
              <a:t>The Billing Process (for non-governmental entities)</a:t>
            </a:r>
          </a:p>
        </p:txBody>
      </p:sp>
      <p:sp>
        <p:nvSpPr>
          <p:cNvPr id="3" name="Content Placeholder 2">
            <a:extLst>
              <a:ext uri="{FF2B5EF4-FFF2-40B4-BE49-F238E27FC236}">
                <a16:creationId xmlns:a16="http://schemas.microsoft.com/office/drawing/2014/main" id="{53CB5957-0377-498A-B4FA-A6EFBB1F1955}"/>
              </a:ext>
            </a:extLst>
          </p:cNvPr>
          <p:cNvSpPr>
            <a:spLocks noGrp="1"/>
          </p:cNvSpPr>
          <p:nvPr>
            <p:ph idx="1"/>
          </p:nvPr>
        </p:nvSpPr>
        <p:spPr/>
        <p:txBody>
          <a:bodyPr vert="horz" lIns="91440" tIns="45720" rIns="91440" bIns="45720" rtlCol="0" anchor="t">
            <a:normAutofit lnSpcReduction="10000"/>
          </a:bodyPr>
          <a:lstStyle/>
          <a:p>
            <a:r>
              <a:rPr lang="en-US" dirty="0"/>
              <a:t>Determine if this is salary or product reimbursement. </a:t>
            </a:r>
          </a:p>
          <a:p>
            <a:r>
              <a:rPr lang="en-US" dirty="0"/>
              <a:t>Create an MOU with the entity - NPC or University Affiliate (in most cases).</a:t>
            </a:r>
            <a:endParaRPr lang="en-US" dirty="0">
              <a:cs typeface="Calibri"/>
            </a:endParaRPr>
          </a:p>
          <a:p>
            <a:r>
              <a:rPr lang="en-US" dirty="0"/>
              <a:t>If Affiliate, have the person requesting the MOU provide an administrative contact at Affiliate to route the MOU. Get signatures at affiliate by sending to the admin. Then route internally. </a:t>
            </a:r>
          </a:p>
          <a:p>
            <a:r>
              <a:rPr lang="en-US" dirty="0"/>
              <a:t>If NPC, contact NPC staff to complete. </a:t>
            </a:r>
            <a:endParaRPr lang="en-US" dirty="0">
              <a:cs typeface="Calibri"/>
            </a:endParaRPr>
          </a:p>
          <a:p>
            <a:r>
              <a:rPr lang="en-US" dirty="0"/>
              <a:t>Once MOU is in place, give it an MOU number if Fiscal has not already.</a:t>
            </a:r>
            <a:endParaRPr lang="en-US" dirty="0">
              <a:cs typeface="Calibri"/>
            </a:endParaRPr>
          </a:p>
          <a:p>
            <a:r>
              <a:rPr lang="en-US" dirty="0"/>
              <a:t>Create the bill in the VISTA billing system.</a:t>
            </a:r>
            <a:endParaRPr lang="en-US" dirty="0">
              <a:cs typeface="Calibri"/>
            </a:endParaRPr>
          </a:p>
          <a:p>
            <a:pPr lvl="1"/>
            <a:endParaRPr lang="en-US" sz="7200" dirty="0"/>
          </a:p>
          <a:p>
            <a:pPr marL="457200" lvl="1" indent="0">
              <a:buNone/>
            </a:pPr>
            <a:endParaRPr lang="en-US" sz="7200" dirty="0"/>
          </a:p>
          <a:p>
            <a:pPr marL="457200" lvl="1" indent="0">
              <a:buNone/>
            </a:pPr>
            <a:endParaRPr lang="en-US" sz="7200" dirty="0"/>
          </a:p>
          <a:p>
            <a:pPr marL="457200" lvl="1" indent="0">
              <a:buNone/>
            </a:pPr>
            <a:endParaRPr lang="en-US" sz="7200" dirty="0"/>
          </a:p>
          <a:p>
            <a:pPr marL="457200" lvl="1" indent="0">
              <a:buNone/>
            </a:pPr>
            <a:endParaRPr lang="en-US" sz="7200" dirty="0"/>
          </a:p>
          <a:p>
            <a:endParaRPr lang="en-US" dirty="0"/>
          </a:p>
        </p:txBody>
      </p:sp>
    </p:spTree>
    <p:extLst>
      <p:ext uri="{BB962C8B-B14F-4D97-AF65-F5344CB8AC3E}">
        <p14:creationId xmlns:p14="http://schemas.microsoft.com/office/powerpoint/2010/main" val="975963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0E35D-7C27-41E5-8DFE-F4785FDA6632}"/>
              </a:ext>
            </a:extLst>
          </p:cNvPr>
          <p:cNvSpPr>
            <a:spLocks noGrp="1"/>
          </p:cNvSpPr>
          <p:nvPr>
            <p:ph type="title"/>
          </p:nvPr>
        </p:nvSpPr>
        <p:spPr/>
        <p:txBody>
          <a:bodyPr/>
          <a:lstStyle/>
          <a:p>
            <a:r>
              <a:rPr lang="en-US" dirty="0"/>
              <a:t>Example of MOU</a:t>
            </a:r>
          </a:p>
        </p:txBody>
      </p:sp>
      <p:pic>
        <p:nvPicPr>
          <p:cNvPr id="4" name="Content Placeholder 3">
            <a:extLst>
              <a:ext uri="{FF2B5EF4-FFF2-40B4-BE49-F238E27FC236}">
                <a16:creationId xmlns:a16="http://schemas.microsoft.com/office/drawing/2014/main" id="{D4982862-9018-4D2A-8303-AF99A31CD8E1}"/>
              </a:ext>
            </a:extLst>
          </p:cNvPr>
          <p:cNvPicPr>
            <a:picLocks noGrp="1" noChangeAspect="1"/>
          </p:cNvPicPr>
          <p:nvPr>
            <p:ph idx="1"/>
          </p:nvPr>
        </p:nvPicPr>
        <p:blipFill>
          <a:blip r:embed="rId2"/>
          <a:stretch>
            <a:fillRect/>
          </a:stretch>
        </p:blipFill>
        <p:spPr>
          <a:xfrm>
            <a:off x="2761255" y="1133475"/>
            <a:ext cx="6669489" cy="4819650"/>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4784088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DD92-CBB7-4203-B370-43CB62CB8A60}"/>
              </a:ext>
            </a:extLst>
          </p:cNvPr>
          <p:cNvSpPr>
            <a:spLocks noGrp="1"/>
          </p:cNvSpPr>
          <p:nvPr>
            <p:ph type="title"/>
          </p:nvPr>
        </p:nvSpPr>
        <p:spPr/>
        <p:txBody>
          <a:bodyPr/>
          <a:lstStyle/>
          <a:p>
            <a:r>
              <a:rPr lang="en-US" dirty="0"/>
              <a:t>Setting up the Bill in VISTA Steps</a:t>
            </a:r>
          </a:p>
        </p:txBody>
      </p:sp>
      <p:sp>
        <p:nvSpPr>
          <p:cNvPr id="3" name="Content Placeholder 2">
            <a:extLst>
              <a:ext uri="{FF2B5EF4-FFF2-40B4-BE49-F238E27FC236}">
                <a16:creationId xmlns:a16="http://schemas.microsoft.com/office/drawing/2014/main" id="{6D2714A0-8197-43AC-8931-D4FB78EE9D94}"/>
              </a:ext>
            </a:extLst>
          </p:cNvPr>
          <p:cNvSpPr>
            <a:spLocks noGrp="1"/>
          </p:cNvSpPr>
          <p:nvPr>
            <p:ph idx="1"/>
          </p:nvPr>
        </p:nvSpPr>
        <p:spPr/>
        <p:txBody>
          <a:bodyPr>
            <a:normAutofit/>
          </a:bodyPr>
          <a:lstStyle/>
          <a:p>
            <a:pPr marL="514350" indent="-514350">
              <a:buFont typeface="+mj-lt"/>
              <a:buAutoNum type="arabicPeriod"/>
            </a:pPr>
            <a:r>
              <a:rPr lang="en-US" dirty="0"/>
              <a:t>Select Control Point Official's Menu Option: billing</a:t>
            </a:r>
          </a:p>
          <a:p>
            <a:pPr marL="514350" indent="-514350">
              <a:buFont typeface="+mj-lt"/>
              <a:buAutoNum type="arabicPeriod"/>
            </a:pPr>
            <a:r>
              <a:rPr lang="en-US" dirty="0"/>
              <a:t>Select Billing Option: new Bill (Enter)</a:t>
            </a:r>
          </a:p>
          <a:p>
            <a:pPr marL="514350" indent="-514350">
              <a:buFont typeface="+mj-lt"/>
              <a:buAutoNum type="arabicPeriod"/>
            </a:pPr>
            <a:r>
              <a:rPr lang="en-US" dirty="0"/>
              <a:t>SITE: ATLANTA VAMC//	GA  VAMC	508</a:t>
            </a:r>
          </a:p>
          <a:p>
            <a:pPr marL="514350" indent="-514350">
              <a:buFont typeface="+mj-lt"/>
              <a:buAutoNum type="arabicPeriod"/>
            </a:pPr>
            <a:r>
              <a:rPr lang="en-US" dirty="0"/>
              <a:t> BILL NO. : </a:t>
            </a:r>
            <a:r>
              <a:rPr lang="en-US" dirty="0">
                <a:highlight>
                  <a:srgbClr val="FFFF00"/>
                </a:highlight>
              </a:rPr>
              <a:t>n</a:t>
            </a:r>
            <a:r>
              <a:rPr lang="en-US" dirty="0"/>
              <a:t> ... Bill Number '508 -K######' assigned</a:t>
            </a:r>
          </a:p>
          <a:p>
            <a:pPr marL="514350" indent="-514350">
              <a:buFont typeface="+mj-lt"/>
              <a:buAutoNum type="arabicPeriod"/>
            </a:pPr>
            <a:r>
              <a:rPr lang="en-US" dirty="0"/>
              <a:t>FORM TYPE: </a:t>
            </a:r>
            <a:r>
              <a:rPr lang="en-US" b="1" dirty="0">
                <a:highlight>
                  <a:srgbClr val="FFFF00"/>
                </a:highlight>
              </a:rPr>
              <a:t>1114  (vendor)</a:t>
            </a:r>
            <a:endParaRPr lang="en-US" dirty="0">
              <a:highlight>
                <a:srgbClr val="FFFF00"/>
              </a:highlight>
            </a:endParaRPr>
          </a:p>
          <a:p>
            <a:pPr marL="514350" indent="-514350">
              <a:buFont typeface="+mj-lt"/>
              <a:buAutoNum type="arabicPeriod"/>
            </a:pPr>
            <a:r>
              <a:rPr lang="en-US" dirty="0"/>
              <a:t>CATEGORY: VENDOR	V – (vendor)</a:t>
            </a:r>
          </a:p>
          <a:p>
            <a:pPr marL="514350" indent="-514350">
              <a:buFont typeface="+mj-lt"/>
              <a:buAutoNum type="arabicPeriod"/>
            </a:pPr>
            <a:r>
              <a:rPr lang="en-US" dirty="0"/>
              <a:t>CONTROL POINT: 280  (this is the X2 FCP)</a:t>
            </a:r>
          </a:p>
          <a:p>
            <a:pPr marL="0" indent="0">
              <a:buNone/>
            </a:pPr>
            <a:endParaRPr lang="en-US" dirty="0"/>
          </a:p>
        </p:txBody>
      </p:sp>
    </p:spTree>
    <p:extLst>
      <p:ext uri="{BB962C8B-B14F-4D97-AF65-F5344CB8AC3E}">
        <p14:creationId xmlns:p14="http://schemas.microsoft.com/office/powerpoint/2010/main" val="40171332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D14FC-089D-473A-B229-D0C4C61A97DC}"/>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DC5BB137-B61F-4484-B0C7-C8AB1E39EAC1}"/>
              </a:ext>
            </a:extLst>
          </p:cNvPr>
          <p:cNvSpPr>
            <a:spLocks noGrp="1"/>
          </p:cNvSpPr>
          <p:nvPr>
            <p:ph idx="1"/>
          </p:nvPr>
        </p:nvSpPr>
        <p:spPr/>
        <p:txBody>
          <a:bodyPr/>
          <a:lstStyle/>
          <a:p>
            <a:r>
              <a:rPr lang="en-US" dirty="0"/>
              <a:t>DATE BILL PREPARED: enter date</a:t>
            </a:r>
          </a:p>
          <a:p>
            <a:r>
              <a:rPr lang="en-US" dirty="0"/>
              <a:t>VOUCHER NUMBER:</a:t>
            </a:r>
          </a:p>
          <a:p>
            <a:r>
              <a:rPr lang="en-US" dirty="0"/>
              <a:t>BILLING AGENCY: </a:t>
            </a:r>
            <a:r>
              <a:rPr lang="en-US" b="1" dirty="0"/>
              <a:t>DVA </a:t>
            </a:r>
            <a:r>
              <a:rPr lang="en-US" dirty="0"/>
              <a:t>Medical Center</a:t>
            </a:r>
          </a:p>
          <a:p>
            <a:r>
              <a:rPr lang="en-US" dirty="0"/>
              <a:t>BILLING AGENCY DEBTOR (PAYER): </a:t>
            </a:r>
            <a:r>
              <a:rPr lang="en-US" b="1" dirty="0"/>
              <a:t>8049 for FAVER (Varies by Station)</a:t>
            </a:r>
            <a:endParaRPr lang="en-US" dirty="0"/>
          </a:p>
        </p:txBody>
      </p:sp>
    </p:spTree>
    <p:extLst>
      <p:ext uri="{BB962C8B-B14F-4D97-AF65-F5344CB8AC3E}">
        <p14:creationId xmlns:p14="http://schemas.microsoft.com/office/powerpoint/2010/main" val="884701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6109-92AC-475F-A115-C22C768E7CD3}"/>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B5464D6A-E1F8-436F-B3D2-A74526159200}"/>
              </a:ext>
            </a:extLst>
          </p:cNvPr>
          <p:cNvSpPr>
            <a:spLocks noGrp="1"/>
          </p:cNvSpPr>
          <p:nvPr>
            <p:ph idx="1"/>
          </p:nvPr>
        </p:nvSpPr>
        <p:spPr/>
        <p:txBody>
          <a:bodyPr>
            <a:normAutofit lnSpcReduction="10000"/>
          </a:bodyPr>
          <a:lstStyle/>
          <a:p>
            <a:r>
              <a:rPr lang="en-US" dirty="0"/>
              <a:t>Select DATE OF CHARGES: </a:t>
            </a:r>
            <a:r>
              <a:rPr lang="en-US" i="1" dirty="0"/>
              <a:t>t </a:t>
            </a:r>
            <a:r>
              <a:rPr lang="en-US" dirty="0"/>
              <a:t>JUL 08, 2009 DESCRIPTION OF CHARGES:</a:t>
            </a:r>
          </a:p>
          <a:p>
            <a:r>
              <a:rPr lang="en-US" dirty="0"/>
              <a:t>No existing text Edit? NO// y YES</a:t>
            </a:r>
          </a:p>
          <a:p>
            <a:pPr lvl="1"/>
            <a:r>
              <a:rPr lang="en-US" dirty="0"/>
              <a:t>(Reimbursement) for work performed by X for the period of date to date. Per the Memorandums of Understanding between the VA NPC and the VA Medical Center where VA NPC may reimburse the VA Medical Center for salaries of VA employees. The reimbursement is made to support costs incurred in support of the project X under the direction of PI Name .</a:t>
            </a:r>
          </a:p>
          <a:p>
            <a:pPr marL="0" indent="0">
              <a:buNone/>
            </a:pPr>
            <a:r>
              <a:rPr lang="en-US" dirty="0"/>
              <a:t> 	MOU number:</a:t>
            </a:r>
          </a:p>
          <a:p>
            <a:pPr marL="914400" lvl="2" indent="0">
              <a:buNone/>
            </a:pPr>
            <a:r>
              <a:rPr lang="en-US" dirty="0"/>
              <a:t>Fund 0161X2</a:t>
            </a:r>
          </a:p>
          <a:p>
            <a:pPr marL="914400" lvl="2" indent="0">
              <a:buNone/>
            </a:pPr>
            <a:r>
              <a:rPr lang="en-US" dirty="0"/>
              <a:t>FCP (Enter the Reimbursable FCP)</a:t>
            </a:r>
          </a:p>
          <a:p>
            <a:pPr marL="914400" lvl="2" indent="0">
              <a:buNone/>
            </a:pPr>
            <a:r>
              <a:rPr lang="en-US" dirty="0"/>
              <a:t>BFY:  Enter the Fiscal Year</a:t>
            </a:r>
          </a:p>
          <a:p>
            <a:pPr marL="914400" lvl="2" indent="0">
              <a:buNone/>
            </a:pPr>
            <a:r>
              <a:rPr lang="en-US" dirty="0"/>
              <a:t>BOC 1031</a:t>
            </a:r>
          </a:p>
          <a:p>
            <a:pPr marL="0" indent="0">
              <a:buNone/>
            </a:pPr>
            <a:endParaRPr lang="en-US" dirty="0"/>
          </a:p>
        </p:txBody>
      </p:sp>
    </p:spTree>
    <p:extLst>
      <p:ext uri="{BB962C8B-B14F-4D97-AF65-F5344CB8AC3E}">
        <p14:creationId xmlns:p14="http://schemas.microsoft.com/office/powerpoint/2010/main" val="1488258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7CE5-937F-4E9D-BA39-414255C09177}"/>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92068DE4-BAA9-41C8-82F2-4932AC9535B0}"/>
              </a:ext>
            </a:extLst>
          </p:cNvPr>
          <p:cNvSpPr>
            <a:spLocks noGrp="1"/>
          </p:cNvSpPr>
          <p:nvPr>
            <p:ph idx="1"/>
          </p:nvPr>
        </p:nvSpPr>
        <p:spPr/>
        <p:txBody>
          <a:bodyPr>
            <a:normAutofit fontScale="92500" lnSpcReduction="10000"/>
          </a:bodyPr>
          <a:lstStyle/>
          <a:p>
            <a:r>
              <a:rPr lang="en-US" dirty="0"/>
              <a:t>QUANTITY (UNITS):  Enter number of units (for effort use 1)</a:t>
            </a:r>
          </a:p>
          <a:p>
            <a:r>
              <a:rPr lang="en-US" dirty="0"/>
              <a:t>UNIT COST: enter amount to reimburse</a:t>
            </a:r>
          </a:p>
          <a:p>
            <a:r>
              <a:rPr lang="en-US" dirty="0"/>
              <a:t>UNIT: for effort enter JB,  for Units do a ? and use appropriate</a:t>
            </a:r>
          </a:p>
          <a:p>
            <a:r>
              <a:rPr lang="en-US" dirty="0"/>
              <a:t>TOTAL AMOUNT: 19672// (No Editing hit enter) Select DATE OF CHARGES:  (hit enter)</a:t>
            </a:r>
          </a:p>
          <a:p>
            <a:r>
              <a:rPr lang="en-US" dirty="0"/>
              <a:t>Select FISCAL YEAR:  hit enter</a:t>
            </a:r>
          </a:p>
          <a:p>
            <a:r>
              <a:rPr lang="en-US" dirty="0"/>
              <a:t>FY ORIGINAL AMOUNT: 19672// hit enter</a:t>
            </a:r>
          </a:p>
          <a:p>
            <a:r>
              <a:rPr lang="en-US" dirty="0"/>
              <a:t> Select FISCAL YEAR: hit enter</a:t>
            </a:r>
          </a:p>
          <a:p>
            <a:r>
              <a:rPr lang="en-US" dirty="0"/>
              <a:t>Display/Print Bill:? Yes// (Yes)</a:t>
            </a:r>
          </a:p>
          <a:p>
            <a:r>
              <a:rPr lang="en-US" dirty="0"/>
              <a:t>DEVICE: HOME //  HOME	Right Margin: 80//</a:t>
            </a:r>
          </a:p>
          <a:p>
            <a:pPr marL="0" indent="0">
              <a:buNone/>
            </a:pPr>
            <a:endParaRPr lang="en-US" dirty="0"/>
          </a:p>
        </p:txBody>
      </p:sp>
    </p:spTree>
    <p:extLst>
      <p:ext uri="{BB962C8B-B14F-4D97-AF65-F5344CB8AC3E}">
        <p14:creationId xmlns:p14="http://schemas.microsoft.com/office/powerpoint/2010/main" val="9680449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5E198-7169-49BB-80ED-372BAA127667}"/>
              </a:ext>
            </a:extLst>
          </p:cNvPr>
          <p:cNvSpPr>
            <a:spLocks noGrp="1"/>
          </p:cNvSpPr>
          <p:nvPr>
            <p:ph type="title"/>
          </p:nvPr>
        </p:nvSpPr>
        <p:spPr/>
        <p:txBody>
          <a:bodyPr/>
          <a:lstStyle/>
          <a:p>
            <a:r>
              <a:rPr lang="en-US" dirty="0"/>
              <a:t>What happens next</a:t>
            </a:r>
          </a:p>
        </p:txBody>
      </p:sp>
      <p:sp>
        <p:nvSpPr>
          <p:cNvPr id="3" name="Content Placeholder 2">
            <a:extLst>
              <a:ext uri="{FF2B5EF4-FFF2-40B4-BE49-F238E27FC236}">
                <a16:creationId xmlns:a16="http://schemas.microsoft.com/office/drawing/2014/main" id="{F37C9D81-E25B-4022-8B6E-8239AB65CB0E}"/>
              </a:ext>
            </a:extLst>
          </p:cNvPr>
          <p:cNvSpPr>
            <a:spLocks noGrp="1"/>
          </p:cNvSpPr>
          <p:nvPr>
            <p:ph idx="1"/>
          </p:nvPr>
        </p:nvSpPr>
        <p:spPr/>
        <p:txBody>
          <a:bodyPr vert="horz" lIns="91440" tIns="45720" rIns="91440" bIns="45720" rtlCol="0" anchor="t">
            <a:normAutofit fontScale="92500"/>
          </a:bodyPr>
          <a:lstStyle/>
          <a:p>
            <a:r>
              <a:rPr lang="en-US" dirty="0"/>
              <a:t>Bill is approved by FCP Approving Official.</a:t>
            </a:r>
            <a:endParaRPr lang="en-US" dirty="0">
              <a:cs typeface="Calibri"/>
            </a:endParaRPr>
          </a:p>
          <a:p>
            <a:r>
              <a:rPr lang="en-US" dirty="0"/>
              <a:t>Accounting Reviews the bill and may ask questions, send back or approve.</a:t>
            </a:r>
            <a:endParaRPr lang="en-US" dirty="0">
              <a:cs typeface="Calibri"/>
            </a:endParaRPr>
          </a:p>
          <a:p>
            <a:pPr lvl="1"/>
            <a:r>
              <a:rPr lang="en-US" dirty="0"/>
              <a:t>Question may include:</a:t>
            </a:r>
            <a:endParaRPr lang="en-US" dirty="0">
              <a:cs typeface="Calibri"/>
            </a:endParaRPr>
          </a:p>
          <a:p>
            <a:pPr lvl="2"/>
            <a:r>
              <a:rPr lang="en-US" dirty="0"/>
              <a:t>What BFY is the bill to be collected in?  Use the year that the expense was made</a:t>
            </a:r>
            <a:endParaRPr lang="en-US" dirty="0">
              <a:cs typeface="Calibri"/>
            </a:endParaRPr>
          </a:p>
          <a:p>
            <a:pPr lvl="2"/>
            <a:r>
              <a:rPr lang="en-US" dirty="0"/>
              <a:t>What is the revenue code?  Usually, it will be one of the following 3</a:t>
            </a:r>
            <a:endParaRPr lang="en-US" dirty="0">
              <a:cs typeface="Calibri"/>
            </a:endParaRPr>
          </a:p>
          <a:p>
            <a:pPr lvl="3"/>
            <a:r>
              <a:rPr lang="en-US" dirty="0"/>
              <a:t>8000 – Non-medical reimbursements</a:t>
            </a:r>
            <a:endParaRPr lang="en-US" dirty="0">
              <a:cs typeface="Calibri"/>
            </a:endParaRPr>
          </a:p>
          <a:p>
            <a:pPr lvl="3"/>
            <a:r>
              <a:rPr lang="en-US" dirty="0"/>
              <a:t>8004 - ANCILLARY MED SVC, MED RES</a:t>
            </a:r>
            <a:endParaRPr lang="en-US" dirty="0">
              <a:cs typeface="Calibri"/>
            </a:endParaRPr>
          </a:p>
          <a:p>
            <a:pPr lvl="3"/>
            <a:r>
              <a:rPr lang="en-US" dirty="0"/>
              <a:t>8020 - FED INTERAGENCY AGR - MED RES</a:t>
            </a:r>
            <a:endParaRPr lang="en-US" dirty="0">
              <a:cs typeface="Calibri"/>
            </a:endParaRPr>
          </a:p>
          <a:p>
            <a:r>
              <a:rPr lang="en-US" dirty="0"/>
              <a:t>Accounting approves the bill, and the clock starts ticking.</a:t>
            </a:r>
            <a:endParaRPr lang="en-US" dirty="0">
              <a:cs typeface="Calibri"/>
            </a:endParaRPr>
          </a:p>
          <a:p>
            <a:r>
              <a:rPr lang="en-US" dirty="0"/>
              <a:t>The NPC or Affiliate will deposit check through Agent Cashier.</a:t>
            </a:r>
            <a:endParaRPr lang="en-US" dirty="0">
              <a:cs typeface="Calibri"/>
            </a:endParaRPr>
          </a:p>
          <a:p>
            <a:r>
              <a:rPr lang="en-US" dirty="0"/>
              <a:t>TDA is then processed once the collection is completed (see later sections)</a:t>
            </a:r>
            <a:endParaRPr lang="en-US" dirty="0">
              <a:cs typeface="Calibri"/>
            </a:endParaRPr>
          </a:p>
          <a:p>
            <a:pPr lvl="2"/>
            <a:endParaRPr lang="en-US" dirty="0"/>
          </a:p>
        </p:txBody>
      </p:sp>
    </p:spTree>
    <p:extLst>
      <p:ext uri="{BB962C8B-B14F-4D97-AF65-F5344CB8AC3E}">
        <p14:creationId xmlns:p14="http://schemas.microsoft.com/office/powerpoint/2010/main" val="3103794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81CF75-CEEC-43E8-B6CF-6D25D9510C1B}"/>
              </a:ext>
            </a:extLst>
          </p:cNvPr>
          <p:cNvPicPr>
            <a:picLocks noChangeAspect="1"/>
          </p:cNvPicPr>
          <p:nvPr/>
        </p:nvPicPr>
        <p:blipFill>
          <a:blip r:embed="rId2"/>
          <a:stretch>
            <a:fillRect/>
          </a:stretch>
        </p:blipFill>
        <p:spPr>
          <a:xfrm>
            <a:off x="590843" y="1132839"/>
            <a:ext cx="10672689" cy="5028810"/>
          </a:xfrm>
          <a:prstGeom prst="rect">
            <a:avLst/>
          </a:prstGeom>
        </p:spPr>
      </p:pic>
      <p:sp>
        <p:nvSpPr>
          <p:cNvPr id="3" name="Title 1">
            <a:extLst>
              <a:ext uri="{FF2B5EF4-FFF2-40B4-BE49-F238E27FC236}">
                <a16:creationId xmlns:a16="http://schemas.microsoft.com/office/drawing/2014/main" id="{BFF4CF55-DD4B-8465-6EA2-5C5F1BE14610}"/>
              </a:ext>
            </a:extLst>
          </p:cNvPr>
          <p:cNvSpPr txBox="1">
            <a:spLocks/>
          </p:cNvSpPr>
          <p:nvPr/>
        </p:nvSpPr>
        <p:spPr>
          <a:xfrm>
            <a:off x="285750" y="166264"/>
            <a:ext cx="10515600" cy="618385"/>
          </a:xfrm>
          <a:prstGeom prst="rect">
            <a:avLst/>
          </a:prstGeom>
        </p:spPr>
        <p:txBody>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dirty="0"/>
              <a:t>VISTA Bill of Collection</a:t>
            </a:r>
          </a:p>
        </p:txBody>
      </p:sp>
    </p:spTree>
    <p:extLst>
      <p:ext uri="{BB962C8B-B14F-4D97-AF65-F5344CB8AC3E}">
        <p14:creationId xmlns:p14="http://schemas.microsoft.com/office/powerpoint/2010/main" val="1236566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E49B86-8F6F-49C3-A70E-43C1091FA848}"/>
              </a:ext>
            </a:extLst>
          </p:cNvPr>
          <p:cNvPicPr>
            <a:picLocks noChangeAspect="1"/>
          </p:cNvPicPr>
          <p:nvPr/>
        </p:nvPicPr>
        <p:blipFill>
          <a:blip r:embed="rId2"/>
          <a:stretch>
            <a:fillRect/>
          </a:stretch>
        </p:blipFill>
        <p:spPr>
          <a:xfrm>
            <a:off x="1357532" y="862330"/>
            <a:ext cx="9476935" cy="5133340"/>
          </a:xfrm>
          <a:prstGeom prst="rect">
            <a:avLst/>
          </a:prstGeom>
        </p:spPr>
      </p:pic>
      <p:sp>
        <p:nvSpPr>
          <p:cNvPr id="4" name="TextBox 3">
            <a:extLst>
              <a:ext uri="{FF2B5EF4-FFF2-40B4-BE49-F238E27FC236}">
                <a16:creationId xmlns:a16="http://schemas.microsoft.com/office/drawing/2014/main" id="{5A6A5407-5A1F-E12F-F0EA-38147BD72ECA}"/>
              </a:ext>
            </a:extLst>
          </p:cNvPr>
          <p:cNvSpPr txBox="1"/>
          <p:nvPr/>
        </p:nvSpPr>
        <p:spPr>
          <a:xfrm>
            <a:off x="863353" y="188196"/>
            <a:ext cx="6094520" cy="590931"/>
          </a:xfrm>
          <a:prstGeom prst="rect">
            <a:avLst/>
          </a:prstGeom>
          <a:noFill/>
        </p:spPr>
        <p:txBody>
          <a:bodyPr wrap="square">
            <a:spAutoFit/>
          </a:bodyPr>
          <a:lstStyle/>
          <a:p>
            <a:pPr>
              <a:lnSpc>
                <a:spcPct val="90000"/>
              </a:lnSpc>
              <a:spcBef>
                <a:spcPct val="0"/>
              </a:spcBef>
            </a:pPr>
            <a:r>
              <a:rPr lang="en-US" sz="3600" b="1" dirty="0">
                <a:solidFill>
                  <a:schemeClr val="bg1"/>
                </a:solidFill>
                <a:latin typeface="+mj-lt"/>
                <a:ea typeface="+mj-ea"/>
                <a:cs typeface="+mj-cs"/>
              </a:rPr>
              <a:t>VISTA Bill of Collection</a:t>
            </a:r>
          </a:p>
        </p:txBody>
      </p:sp>
    </p:spTree>
    <p:extLst>
      <p:ext uri="{BB962C8B-B14F-4D97-AF65-F5344CB8AC3E}">
        <p14:creationId xmlns:p14="http://schemas.microsoft.com/office/powerpoint/2010/main" val="207807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dirty="0"/>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618501127"/>
              </p:ext>
            </p:extLst>
          </p:nvPr>
        </p:nvGraphicFramePr>
        <p:xfrm>
          <a:off x="529422" y="999361"/>
          <a:ext cx="10824378" cy="5052189"/>
        </p:xfrm>
        <a:graphic>
          <a:graphicData uri="http://schemas.openxmlformats.org/drawingml/2006/table">
            <a:tbl>
              <a:tblPr firstRow="1" bandRow="1">
                <a:tableStyleId>{5C22544A-7EE6-4342-B048-85BDC9FD1C3A}</a:tableStyleId>
              </a:tblPr>
              <a:tblGrid>
                <a:gridCol w="5395774">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387116">
                <a:tc>
                  <a:txBody>
                    <a:bodyPr/>
                    <a:lstStyle/>
                    <a:p>
                      <a:pPr algn="ctr"/>
                      <a:endParaRPr lang="en-US" sz="2000" dirty="0"/>
                    </a:p>
                    <a:p>
                      <a:pPr algn="ctr"/>
                      <a:r>
                        <a:rPr lang="en-US" sz="2000" dirty="0"/>
                        <a:t>Training Section:</a:t>
                      </a:r>
                    </a:p>
                    <a:p>
                      <a:endParaRPr lang="en-US" sz="2000" dirty="0"/>
                    </a:p>
                  </a:txBody>
                  <a:tcPr/>
                </a:tc>
                <a:tc>
                  <a:txBody>
                    <a:bodyPr/>
                    <a:lstStyle/>
                    <a:p>
                      <a:pPr algn="ctr"/>
                      <a:endParaRPr lang="en-US" sz="2000" dirty="0"/>
                    </a:p>
                    <a:p>
                      <a:pPr algn="ctr"/>
                      <a:r>
                        <a:rPr lang="en-US" sz="2000" dirty="0"/>
                        <a:t>By the end of this section, you will:</a:t>
                      </a:r>
                    </a:p>
                    <a:p>
                      <a:endParaRPr lang="en-US" sz="2000" dirty="0"/>
                    </a:p>
                  </a:txBody>
                  <a:tcPr/>
                </a:tc>
                <a:extLst>
                  <a:ext uri="{0D108BD9-81ED-4DB2-BD59-A6C34878D82A}">
                    <a16:rowId xmlns:a16="http://schemas.microsoft.com/office/drawing/2014/main" val="3500140859"/>
                  </a:ext>
                </a:extLst>
              </a:tr>
              <a:tr h="827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Section 1: </a:t>
                      </a:r>
                      <a:r>
                        <a:rPr lang="en-US" sz="2000" b="0" dirty="0"/>
                        <a:t>What is reimbursable work?</a:t>
                      </a:r>
                    </a:p>
                    <a:p>
                      <a:endParaRPr lang="en-US" sz="2000" b="0" dirty="0"/>
                    </a:p>
                  </a:txBody>
                  <a:tcPr/>
                </a:tc>
                <a:tc>
                  <a:txBody>
                    <a:bodyPr/>
                    <a:lstStyle/>
                    <a:p>
                      <a:pPr marL="285750" indent="-285750">
                        <a:buFont typeface="Arial" panose="020B0604020202020204" pitchFamily="34" charset="0"/>
                        <a:buChar char="•"/>
                      </a:pPr>
                      <a:r>
                        <a:rPr lang="en-US" sz="2000" dirty="0"/>
                        <a:t>Understand the government wide requirements for Reimbursable Activity</a:t>
                      </a:r>
                    </a:p>
                    <a:p>
                      <a:pPr marL="285750" indent="-285750">
                        <a:buFont typeface="Arial" panose="020B0604020202020204" pitchFamily="34" charset="0"/>
                        <a:buChar char="•"/>
                      </a:pPr>
                      <a:r>
                        <a:rPr lang="en-US" sz="2000" dirty="0"/>
                        <a:t>Understand Direct vs. Reimbursable </a:t>
                      </a:r>
                    </a:p>
                  </a:txBody>
                  <a:tcPr/>
                </a:tc>
                <a:extLst>
                  <a:ext uri="{0D108BD9-81ED-4DB2-BD59-A6C34878D82A}">
                    <a16:rowId xmlns:a16="http://schemas.microsoft.com/office/drawing/2014/main" val="4110461937"/>
                  </a:ext>
                </a:extLst>
              </a:tr>
              <a:tr h="217006">
                <a:tc>
                  <a:txBody>
                    <a:bodyPr/>
                    <a:lstStyle/>
                    <a:p>
                      <a:r>
                        <a:rPr lang="en-US" sz="2000" b="1" dirty="0"/>
                        <a:t>Section 2: </a:t>
                      </a:r>
                      <a:r>
                        <a:rPr lang="en-US" sz="2000" b="0" dirty="0"/>
                        <a:t>The process of billing </a:t>
                      </a:r>
                    </a:p>
                  </a:txBody>
                  <a:tcPr/>
                </a:tc>
                <a:tc>
                  <a:txBody>
                    <a:bodyPr/>
                    <a:lstStyle/>
                    <a:p>
                      <a:pPr marL="285750" indent="-285750">
                        <a:buFont typeface="Arial" panose="020B0604020202020204" pitchFamily="34" charset="0"/>
                        <a:buChar char="•"/>
                      </a:pPr>
                      <a:r>
                        <a:rPr lang="en-US" sz="2000" dirty="0"/>
                        <a:t>When is a collection required</a:t>
                      </a:r>
                    </a:p>
                    <a:p>
                      <a:pPr marL="285750" indent="-285750">
                        <a:buFont typeface="Arial" panose="020B0604020202020204" pitchFamily="34" charset="0"/>
                        <a:buChar char="•"/>
                      </a:pPr>
                      <a:r>
                        <a:rPr lang="en-US" sz="2000" dirty="0"/>
                        <a:t>Understand the billing process</a:t>
                      </a:r>
                    </a:p>
                  </a:txBody>
                  <a:tcPr/>
                </a:tc>
                <a:extLst>
                  <a:ext uri="{0D108BD9-81ED-4DB2-BD59-A6C34878D82A}">
                    <a16:rowId xmlns:a16="http://schemas.microsoft.com/office/drawing/2014/main" val="2494356450"/>
                  </a:ext>
                </a:extLst>
              </a:tr>
              <a:tr h="0">
                <a:tc>
                  <a:txBody>
                    <a:bodyPr/>
                    <a:lstStyle/>
                    <a:p>
                      <a:r>
                        <a:rPr lang="en-US" sz="2000" b="1" dirty="0"/>
                        <a:t>Section 3: </a:t>
                      </a:r>
                      <a:r>
                        <a:rPr lang="en-US" sz="2000" b="0" dirty="0"/>
                        <a:t>The accounting process</a:t>
                      </a:r>
                    </a:p>
                  </a:txBody>
                  <a:tcPr/>
                </a:tc>
                <a:tc>
                  <a:txBody>
                    <a:bodyPr/>
                    <a:lstStyle/>
                    <a:p>
                      <a:pPr marL="285750" indent="-285750">
                        <a:buFont typeface="Arial" panose="020B0604020202020204" pitchFamily="34" charset="0"/>
                        <a:buChar char="•"/>
                      </a:pPr>
                      <a:r>
                        <a:rPr lang="en-US" sz="2000" dirty="0"/>
                        <a:t>Understand the key accounting transactions that occur with Bills of Collections and available VSSC reports</a:t>
                      </a:r>
                    </a:p>
                  </a:txBody>
                  <a:tcPr/>
                </a:tc>
                <a:extLst>
                  <a:ext uri="{0D108BD9-81ED-4DB2-BD59-A6C34878D82A}">
                    <a16:rowId xmlns:a16="http://schemas.microsoft.com/office/drawing/2014/main" val="1310101683"/>
                  </a:ext>
                </a:extLst>
              </a:tr>
              <a:tr h="284431">
                <a:tc>
                  <a:txBody>
                    <a:bodyPr/>
                    <a:lstStyle/>
                    <a:p>
                      <a:r>
                        <a:rPr lang="en-US" sz="2000" b="1" dirty="0"/>
                        <a:t>Section 4: </a:t>
                      </a:r>
                      <a:r>
                        <a:rPr lang="en-US" sz="2000" b="0" dirty="0"/>
                        <a:t>The VHA Finance TDA Process</a:t>
                      </a:r>
                    </a:p>
                  </a:txBody>
                  <a:tcPr/>
                </a:tc>
                <a:tc>
                  <a:txBody>
                    <a:bodyPr/>
                    <a:lstStyle/>
                    <a:p>
                      <a:pPr marL="342900" indent="-342900">
                        <a:buFont typeface="Arial" panose="020B0604020202020204" pitchFamily="34" charset="0"/>
                        <a:buChar char="•"/>
                      </a:pPr>
                      <a:r>
                        <a:rPr lang="en-US" sz="2000" dirty="0"/>
                        <a:t>Understand how will receive your TDA</a:t>
                      </a:r>
                    </a:p>
                  </a:txBody>
                  <a:tcPr/>
                </a:tc>
                <a:extLst>
                  <a:ext uri="{0D108BD9-81ED-4DB2-BD59-A6C34878D82A}">
                    <a16:rowId xmlns:a16="http://schemas.microsoft.com/office/drawing/2014/main" val="4083256238"/>
                  </a:ext>
                </a:extLst>
              </a:tr>
              <a:tr h="4930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Section 5: </a:t>
                      </a:r>
                      <a:r>
                        <a:rPr lang="en-US" sz="2000" b="0" dirty="0"/>
                        <a:t>Year End Considerations</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Understand key deadlines</a:t>
                      </a:r>
                    </a:p>
                  </a:txBody>
                  <a:tcPr/>
                </a:tc>
                <a:extLst>
                  <a:ext uri="{0D108BD9-81ED-4DB2-BD59-A6C34878D82A}">
                    <a16:rowId xmlns:a16="http://schemas.microsoft.com/office/drawing/2014/main" val="2945059713"/>
                  </a:ext>
                </a:extLst>
              </a:tr>
              <a:tr h="44435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t>Q&amp;A</a:t>
                      </a:r>
                      <a:endParaRPr lang="en-US" sz="20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dirty="0"/>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3/17/2023</a:t>
            </a:fld>
            <a:endParaRPr lang="en-US" dirty="0"/>
          </a:p>
        </p:txBody>
      </p:sp>
    </p:spTree>
    <p:extLst>
      <p:ext uri="{BB962C8B-B14F-4D97-AF65-F5344CB8AC3E}">
        <p14:creationId xmlns:p14="http://schemas.microsoft.com/office/powerpoint/2010/main" val="4120565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7636A-43EE-4BB6-B32A-9138E9F7C7CA}"/>
              </a:ext>
            </a:extLst>
          </p:cNvPr>
          <p:cNvSpPr>
            <a:spLocks noGrp="1"/>
          </p:cNvSpPr>
          <p:nvPr>
            <p:ph type="title"/>
          </p:nvPr>
        </p:nvSpPr>
        <p:spPr>
          <a:xfrm>
            <a:off x="265202" y="421540"/>
            <a:ext cx="10515600" cy="618385"/>
          </a:xfrm>
        </p:spPr>
        <p:txBody>
          <a:bodyPr/>
          <a:lstStyle/>
          <a:p>
            <a:r>
              <a:rPr lang="en-US" dirty="0"/>
              <a:t>Section 3: The Accounting</a:t>
            </a:r>
            <a:r>
              <a:rPr lang="en-US" b="1" dirty="0"/>
              <a:t> Process</a:t>
            </a:r>
            <a:br>
              <a:rPr lang="en-US" b="1" dirty="0"/>
            </a:br>
            <a:endParaRPr lang="en-US" dirty="0"/>
          </a:p>
        </p:txBody>
      </p:sp>
      <p:sp>
        <p:nvSpPr>
          <p:cNvPr id="4" name="Slide Number Placeholder 3">
            <a:extLst>
              <a:ext uri="{FF2B5EF4-FFF2-40B4-BE49-F238E27FC236}">
                <a16:creationId xmlns:a16="http://schemas.microsoft.com/office/drawing/2014/main" id="{D0FFAEBC-2475-4EAB-B7F4-BC8F4AA94BB7}"/>
              </a:ext>
            </a:extLst>
          </p:cNvPr>
          <p:cNvSpPr>
            <a:spLocks noGrp="1"/>
          </p:cNvSpPr>
          <p:nvPr>
            <p:ph type="sldNum" sz="quarter" idx="12"/>
          </p:nvPr>
        </p:nvSpPr>
        <p:spPr/>
        <p:txBody>
          <a:bodyPr/>
          <a:lstStyle/>
          <a:p>
            <a:fld id="{670A9334-4E67-F94F-A05E-0CE8B74A054E}" type="slidenum">
              <a:rPr lang="en-US" smtClean="0"/>
              <a:t>30</a:t>
            </a:fld>
            <a:endParaRPr lang="en-US" dirty="0"/>
          </a:p>
        </p:txBody>
      </p:sp>
      <p:pic>
        <p:nvPicPr>
          <p:cNvPr id="2050" name="Picture 2" descr="Office Space Workplace GIF by Tech Noir">
            <a:extLst>
              <a:ext uri="{FF2B5EF4-FFF2-40B4-BE49-F238E27FC236}">
                <a16:creationId xmlns:a16="http://schemas.microsoft.com/office/drawing/2014/main" id="{6D9B7B13-3531-4879-8356-5E90E20E064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961585" y="1742685"/>
            <a:ext cx="6268829" cy="3372630"/>
          </a:xfrm>
          <a:prstGeom prst="rect">
            <a:avLst/>
          </a:prstGeom>
          <a:noFill/>
          <a:extLst>
            <a:ext uri="{909E8E84-426E-40DD-AFC4-6F175D3DCCD1}">
              <a14:hiddenFill xmlns:a14="http://schemas.microsoft.com/office/drawing/2010/main">
                <a:solidFill>
                  <a:srgbClr val="FFFFFF"/>
                </a:solidFill>
              </a14:hiddenFill>
            </a:ext>
          </a:extLst>
        </p:spPr>
      </p:pic>
      <p:sp>
        <p:nvSpPr>
          <p:cNvPr id="3" name="Speech Bubble: Oval 2">
            <a:extLst>
              <a:ext uri="{FF2B5EF4-FFF2-40B4-BE49-F238E27FC236}">
                <a16:creationId xmlns:a16="http://schemas.microsoft.com/office/drawing/2014/main" id="{6EEEA600-8C9E-4876-BD96-08B13367E2DB}"/>
              </a:ext>
            </a:extLst>
          </p:cNvPr>
          <p:cNvSpPr/>
          <p:nvPr/>
        </p:nvSpPr>
        <p:spPr>
          <a:xfrm>
            <a:off x="393895" y="1384169"/>
            <a:ext cx="2433711" cy="1603717"/>
          </a:xfrm>
          <a:prstGeom prst="wedgeEllipseCallout">
            <a:avLst>
              <a:gd name="adj1" fmla="val 51779"/>
              <a:gd name="adj2" fmla="val 445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here is my TDA?</a:t>
            </a:r>
          </a:p>
        </p:txBody>
      </p:sp>
    </p:spTree>
    <p:extLst>
      <p:ext uri="{BB962C8B-B14F-4D97-AF65-F5344CB8AC3E}">
        <p14:creationId xmlns:p14="http://schemas.microsoft.com/office/powerpoint/2010/main" val="2101627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554BA-1792-4963-AA19-E6B5FA75EECB}"/>
              </a:ext>
            </a:extLst>
          </p:cNvPr>
          <p:cNvSpPr>
            <a:spLocks noGrp="1"/>
          </p:cNvSpPr>
          <p:nvPr>
            <p:ph type="title"/>
          </p:nvPr>
        </p:nvSpPr>
        <p:spPr/>
        <p:txBody>
          <a:bodyPr/>
          <a:lstStyle/>
          <a:p>
            <a:r>
              <a:rPr lang="en-US" dirty="0"/>
              <a:t>Collections Activity</a:t>
            </a:r>
          </a:p>
        </p:txBody>
      </p:sp>
      <p:sp>
        <p:nvSpPr>
          <p:cNvPr id="3" name="Content Placeholder 2">
            <a:extLst>
              <a:ext uri="{FF2B5EF4-FFF2-40B4-BE49-F238E27FC236}">
                <a16:creationId xmlns:a16="http://schemas.microsoft.com/office/drawing/2014/main" id="{747A3D97-1F67-4F58-9964-8FB7D57F7216}"/>
              </a:ext>
            </a:extLst>
          </p:cNvPr>
          <p:cNvSpPr>
            <a:spLocks noGrp="1"/>
          </p:cNvSpPr>
          <p:nvPr>
            <p:ph idx="1"/>
          </p:nvPr>
        </p:nvSpPr>
        <p:spPr/>
        <p:txBody>
          <a:bodyPr/>
          <a:lstStyle/>
          <a:p>
            <a:r>
              <a:rPr lang="en-US" dirty="0"/>
              <a:t>Every collecting activity must be recorded in an accounting transactions in the Standard General Ledger (US SGL), this means that that each time an approved transaction is recorded, it will generate appropriate general ledger accounts for posting the transaction according to the rules defined in the USGL, with the following USGL Codes:</a:t>
            </a:r>
          </a:p>
          <a:p>
            <a:pPr marL="0" indent="0">
              <a:buNone/>
            </a:pPr>
            <a:endParaRPr lang="en-US" dirty="0"/>
          </a:p>
        </p:txBody>
      </p:sp>
      <p:sp>
        <p:nvSpPr>
          <p:cNvPr id="4" name="Slide Number Placeholder 3">
            <a:extLst>
              <a:ext uri="{FF2B5EF4-FFF2-40B4-BE49-F238E27FC236}">
                <a16:creationId xmlns:a16="http://schemas.microsoft.com/office/drawing/2014/main" id="{BA62996E-A452-4FE3-8CE5-5F78704C14C4}"/>
              </a:ext>
            </a:extLst>
          </p:cNvPr>
          <p:cNvSpPr>
            <a:spLocks noGrp="1"/>
          </p:cNvSpPr>
          <p:nvPr>
            <p:ph type="sldNum" sz="quarter" idx="12"/>
          </p:nvPr>
        </p:nvSpPr>
        <p:spPr/>
        <p:txBody>
          <a:bodyPr/>
          <a:lstStyle/>
          <a:p>
            <a:fld id="{670A9334-4E67-F94F-A05E-0CE8B74A054E}" type="slidenum">
              <a:rPr lang="en-US" smtClean="0"/>
              <a:t>31</a:t>
            </a:fld>
            <a:endParaRPr lang="en-US" dirty="0"/>
          </a:p>
        </p:txBody>
      </p:sp>
      <p:graphicFrame>
        <p:nvGraphicFramePr>
          <p:cNvPr id="5" name="Table 5">
            <a:extLst>
              <a:ext uri="{FF2B5EF4-FFF2-40B4-BE49-F238E27FC236}">
                <a16:creationId xmlns:a16="http://schemas.microsoft.com/office/drawing/2014/main" id="{D9B3960A-0B34-4868-BB60-A6DE699FF2B5}"/>
              </a:ext>
            </a:extLst>
          </p:cNvPr>
          <p:cNvGraphicFramePr>
            <a:graphicFrameLocks noGrp="1"/>
          </p:cNvGraphicFramePr>
          <p:nvPr>
            <p:extLst>
              <p:ext uri="{D42A27DB-BD31-4B8C-83A1-F6EECF244321}">
                <p14:modId xmlns:p14="http://schemas.microsoft.com/office/powerpoint/2010/main" val="4083241295"/>
              </p:ext>
            </p:extLst>
          </p:nvPr>
        </p:nvGraphicFramePr>
        <p:xfrm>
          <a:off x="1921267" y="3604486"/>
          <a:ext cx="8351275" cy="2241510"/>
        </p:xfrm>
        <a:graphic>
          <a:graphicData uri="http://schemas.openxmlformats.org/drawingml/2006/table">
            <a:tbl>
              <a:tblPr firstRow="1" bandRow="1">
                <a:tableStyleId>{5C22544A-7EE6-4342-B048-85BDC9FD1C3A}</a:tableStyleId>
              </a:tblPr>
              <a:tblGrid>
                <a:gridCol w="1323355">
                  <a:extLst>
                    <a:ext uri="{9D8B030D-6E8A-4147-A177-3AD203B41FA5}">
                      <a16:colId xmlns:a16="http://schemas.microsoft.com/office/drawing/2014/main" val="1295455282"/>
                    </a:ext>
                  </a:extLst>
                </a:gridCol>
                <a:gridCol w="7027920">
                  <a:extLst>
                    <a:ext uri="{9D8B030D-6E8A-4147-A177-3AD203B41FA5}">
                      <a16:colId xmlns:a16="http://schemas.microsoft.com/office/drawing/2014/main" val="1339843322"/>
                    </a:ext>
                  </a:extLst>
                </a:gridCol>
              </a:tblGrid>
              <a:tr h="448302">
                <a:tc>
                  <a:txBody>
                    <a:bodyPr/>
                    <a:lstStyle/>
                    <a:p>
                      <a:r>
                        <a:rPr lang="en-US" dirty="0"/>
                        <a:t>USGL Code</a:t>
                      </a:r>
                    </a:p>
                  </a:txBody>
                  <a:tcPr/>
                </a:tc>
                <a:tc>
                  <a:txBody>
                    <a:bodyPr/>
                    <a:lstStyle/>
                    <a:p>
                      <a:r>
                        <a:rPr lang="en-US" dirty="0"/>
                        <a:t>Action</a:t>
                      </a:r>
                    </a:p>
                  </a:txBody>
                  <a:tcPr/>
                </a:tc>
                <a:extLst>
                  <a:ext uri="{0D108BD9-81ED-4DB2-BD59-A6C34878D82A}">
                    <a16:rowId xmlns:a16="http://schemas.microsoft.com/office/drawing/2014/main" val="2280007899"/>
                  </a:ext>
                </a:extLst>
              </a:tr>
              <a:tr h="448302">
                <a:tc>
                  <a:txBody>
                    <a:bodyPr/>
                    <a:lstStyle/>
                    <a:p>
                      <a:r>
                        <a:rPr lang="en-US" dirty="0"/>
                        <a:t>4221</a:t>
                      </a:r>
                    </a:p>
                  </a:txBody>
                  <a:tcPr/>
                </a:tc>
                <a:tc>
                  <a:txBody>
                    <a:bodyPr/>
                    <a:lstStyle/>
                    <a:p>
                      <a:r>
                        <a:rPr lang="en-US" dirty="0"/>
                        <a:t>Establish Reimbursable Agreement (IAA)</a:t>
                      </a:r>
                    </a:p>
                  </a:txBody>
                  <a:tcPr/>
                </a:tc>
                <a:extLst>
                  <a:ext uri="{0D108BD9-81ED-4DB2-BD59-A6C34878D82A}">
                    <a16:rowId xmlns:a16="http://schemas.microsoft.com/office/drawing/2014/main" val="2570440901"/>
                  </a:ext>
                </a:extLst>
              </a:tr>
              <a:tr h="448302">
                <a:tc>
                  <a:txBody>
                    <a:bodyPr/>
                    <a:lstStyle/>
                    <a:p>
                      <a:r>
                        <a:rPr lang="en-US" dirty="0"/>
                        <a:t>425F</a:t>
                      </a:r>
                    </a:p>
                  </a:txBody>
                  <a:tcPr/>
                </a:tc>
                <a:tc>
                  <a:txBody>
                    <a:bodyPr/>
                    <a:lstStyle/>
                    <a:p>
                      <a:r>
                        <a:rPr lang="en-US" dirty="0"/>
                        <a:t>Record Reimbursable, No Advance</a:t>
                      </a:r>
                    </a:p>
                  </a:txBody>
                  <a:tcPr/>
                </a:tc>
                <a:extLst>
                  <a:ext uri="{0D108BD9-81ED-4DB2-BD59-A6C34878D82A}">
                    <a16:rowId xmlns:a16="http://schemas.microsoft.com/office/drawing/2014/main" val="3802299630"/>
                  </a:ext>
                </a:extLst>
              </a:tr>
              <a:tr h="448302">
                <a:tc>
                  <a:txBody>
                    <a:bodyPr/>
                    <a:lstStyle/>
                    <a:p>
                      <a:r>
                        <a:rPr lang="en-US" dirty="0"/>
                        <a:t>425G</a:t>
                      </a:r>
                    </a:p>
                  </a:txBody>
                  <a:tcPr/>
                </a:tc>
                <a:tc>
                  <a:txBody>
                    <a:bodyPr/>
                    <a:lstStyle/>
                    <a:p>
                      <a:r>
                        <a:rPr lang="en-US" dirty="0"/>
                        <a:t>Reimbursable Earned (Federal)</a:t>
                      </a:r>
                    </a:p>
                  </a:txBody>
                  <a:tcPr/>
                </a:tc>
                <a:extLst>
                  <a:ext uri="{0D108BD9-81ED-4DB2-BD59-A6C34878D82A}">
                    <a16:rowId xmlns:a16="http://schemas.microsoft.com/office/drawing/2014/main" val="3066315321"/>
                  </a:ext>
                </a:extLst>
              </a:tr>
              <a:tr h="448302">
                <a:tc>
                  <a:txBody>
                    <a:bodyPr/>
                    <a:lstStyle/>
                    <a:p>
                      <a:r>
                        <a:rPr lang="en-US" dirty="0"/>
                        <a:t>425P</a:t>
                      </a:r>
                    </a:p>
                  </a:txBody>
                  <a:tcPr/>
                </a:tc>
                <a:tc>
                  <a:txBody>
                    <a:bodyPr/>
                    <a:lstStyle/>
                    <a:p>
                      <a:r>
                        <a:rPr lang="en-US" dirty="0"/>
                        <a:t>Reimbursable Earned (non-federal)</a:t>
                      </a:r>
                    </a:p>
                  </a:txBody>
                  <a:tcPr/>
                </a:tc>
                <a:extLst>
                  <a:ext uri="{0D108BD9-81ED-4DB2-BD59-A6C34878D82A}">
                    <a16:rowId xmlns:a16="http://schemas.microsoft.com/office/drawing/2014/main" val="2915455370"/>
                  </a:ext>
                </a:extLst>
              </a:tr>
            </a:tbl>
          </a:graphicData>
        </a:graphic>
      </p:graphicFrame>
    </p:spTree>
    <p:extLst>
      <p:ext uri="{BB962C8B-B14F-4D97-AF65-F5344CB8AC3E}">
        <p14:creationId xmlns:p14="http://schemas.microsoft.com/office/powerpoint/2010/main" val="3685367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7DE60-82B3-4F57-AFEF-2F8EB7AD845F}"/>
              </a:ext>
            </a:extLst>
          </p:cNvPr>
          <p:cNvSpPr>
            <a:spLocks noGrp="1"/>
          </p:cNvSpPr>
          <p:nvPr>
            <p:ph type="title"/>
          </p:nvPr>
        </p:nvSpPr>
        <p:spPr>
          <a:xfrm>
            <a:off x="285750" y="166264"/>
            <a:ext cx="11365144" cy="618385"/>
          </a:xfrm>
        </p:spPr>
        <p:txBody>
          <a:bodyPr/>
          <a:lstStyle/>
          <a:p>
            <a:r>
              <a:rPr lang="en-US" dirty="0"/>
              <a:t>VSSC and Checking Reimbursable Activity at the Station Level</a:t>
            </a:r>
          </a:p>
        </p:txBody>
      </p:sp>
      <p:sp>
        <p:nvSpPr>
          <p:cNvPr id="3" name="Content Placeholder 2">
            <a:extLst>
              <a:ext uri="{FF2B5EF4-FFF2-40B4-BE49-F238E27FC236}">
                <a16:creationId xmlns:a16="http://schemas.microsoft.com/office/drawing/2014/main" id="{4221D87A-1816-47E4-B9AE-53BC172519CA}"/>
              </a:ext>
            </a:extLst>
          </p:cNvPr>
          <p:cNvSpPr>
            <a:spLocks noGrp="1"/>
          </p:cNvSpPr>
          <p:nvPr>
            <p:ph idx="1"/>
          </p:nvPr>
        </p:nvSpPr>
        <p:spPr/>
        <p:txBody>
          <a:bodyPr/>
          <a:lstStyle/>
          <a:p>
            <a:r>
              <a:rPr lang="en-US" b="1" dirty="0"/>
              <a:t>VSSC Monthly Earnings Report: </a:t>
            </a:r>
            <a:r>
              <a:rPr lang="en-US" dirty="0"/>
              <a:t>Reports monthly reimbursable earnings by USGL.</a:t>
            </a:r>
          </a:p>
          <a:p>
            <a:pPr lvl="1"/>
            <a:r>
              <a:rPr lang="en-US" dirty="0"/>
              <a:t>Benefit: Easier to use</a:t>
            </a:r>
          </a:p>
          <a:p>
            <a:pPr lvl="1"/>
            <a:r>
              <a:rPr lang="en-US" dirty="0"/>
              <a:t>Con: Only monthly </a:t>
            </a:r>
          </a:p>
          <a:p>
            <a:pPr lvl="1"/>
            <a:r>
              <a:rPr lang="en-US" dirty="0"/>
              <a:t>Link:  </a:t>
            </a:r>
            <a:r>
              <a:rPr lang="en-US" dirty="0">
                <a:hlinkClick r:id="rId2"/>
              </a:rPr>
              <a:t>REIMB_EARNINGS - Report Viewer (va.gov)</a:t>
            </a:r>
            <a:endParaRPr lang="en-US" dirty="0"/>
          </a:p>
          <a:p>
            <a:r>
              <a:rPr lang="en-US" b="1" dirty="0"/>
              <a:t>General Ledger Trial Balance Report: </a:t>
            </a:r>
            <a:r>
              <a:rPr lang="en-US" dirty="0"/>
              <a:t>Daily report showing balance of general ledger account (might be more helpful to get report from Fiscal).</a:t>
            </a:r>
            <a:endParaRPr lang="en-US" b="1" dirty="0"/>
          </a:p>
          <a:p>
            <a:pPr lvl="1"/>
            <a:r>
              <a:rPr lang="en-US" b="1" dirty="0"/>
              <a:t>Benefit: </a:t>
            </a:r>
            <a:r>
              <a:rPr lang="en-US" dirty="0"/>
              <a:t>Daily Report</a:t>
            </a:r>
          </a:p>
          <a:p>
            <a:pPr lvl="1"/>
            <a:r>
              <a:rPr lang="en-US" b="1" dirty="0"/>
              <a:t>Cons: </a:t>
            </a:r>
            <a:r>
              <a:rPr lang="en-US" dirty="0"/>
              <a:t>Harder to Use</a:t>
            </a:r>
          </a:p>
          <a:p>
            <a:pPr lvl="1"/>
            <a:r>
              <a:rPr lang="en-US" b="1" dirty="0"/>
              <a:t>Link: </a:t>
            </a:r>
            <a:r>
              <a:rPr lang="en-US" dirty="0">
                <a:hlinkClick r:id="rId3"/>
              </a:rPr>
              <a:t>GLTS Report - Report Viewer (va.gov)</a:t>
            </a:r>
            <a:endParaRPr lang="en-US" dirty="0"/>
          </a:p>
        </p:txBody>
      </p:sp>
      <p:sp>
        <p:nvSpPr>
          <p:cNvPr id="4" name="Slide Number Placeholder 3">
            <a:extLst>
              <a:ext uri="{FF2B5EF4-FFF2-40B4-BE49-F238E27FC236}">
                <a16:creationId xmlns:a16="http://schemas.microsoft.com/office/drawing/2014/main" id="{5564D8BB-94A7-43BC-A9F9-42E68947A984}"/>
              </a:ext>
            </a:extLst>
          </p:cNvPr>
          <p:cNvSpPr>
            <a:spLocks noGrp="1"/>
          </p:cNvSpPr>
          <p:nvPr>
            <p:ph type="sldNum" sz="quarter" idx="12"/>
          </p:nvPr>
        </p:nvSpPr>
        <p:spPr/>
        <p:txBody>
          <a:bodyPr/>
          <a:lstStyle/>
          <a:p>
            <a:fld id="{670A9334-4E67-F94F-A05E-0CE8B74A054E}" type="slidenum">
              <a:rPr lang="en-US" smtClean="0"/>
              <a:t>32</a:t>
            </a:fld>
            <a:endParaRPr lang="en-US" dirty="0"/>
          </a:p>
        </p:txBody>
      </p:sp>
    </p:spTree>
    <p:extLst>
      <p:ext uri="{BB962C8B-B14F-4D97-AF65-F5344CB8AC3E}">
        <p14:creationId xmlns:p14="http://schemas.microsoft.com/office/powerpoint/2010/main" val="26861903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7DE60-82B3-4F57-AFEF-2F8EB7AD845F}"/>
              </a:ext>
            </a:extLst>
          </p:cNvPr>
          <p:cNvSpPr>
            <a:spLocks noGrp="1"/>
          </p:cNvSpPr>
          <p:nvPr>
            <p:ph type="title"/>
          </p:nvPr>
        </p:nvSpPr>
        <p:spPr/>
        <p:txBody>
          <a:bodyPr/>
          <a:lstStyle/>
          <a:p>
            <a:r>
              <a:rPr lang="en-US" dirty="0"/>
              <a:t>VSSC Reimbursable Monthly Earnings Report</a:t>
            </a:r>
          </a:p>
        </p:txBody>
      </p:sp>
      <p:sp>
        <p:nvSpPr>
          <p:cNvPr id="4" name="Slide Number Placeholder 3">
            <a:extLst>
              <a:ext uri="{FF2B5EF4-FFF2-40B4-BE49-F238E27FC236}">
                <a16:creationId xmlns:a16="http://schemas.microsoft.com/office/drawing/2014/main" id="{5564D8BB-94A7-43BC-A9F9-42E68947A984}"/>
              </a:ext>
            </a:extLst>
          </p:cNvPr>
          <p:cNvSpPr>
            <a:spLocks noGrp="1"/>
          </p:cNvSpPr>
          <p:nvPr>
            <p:ph type="sldNum" sz="quarter" idx="12"/>
          </p:nvPr>
        </p:nvSpPr>
        <p:spPr/>
        <p:txBody>
          <a:bodyPr/>
          <a:lstStyle/>
          <a:p>
            <a:fld id="{670A9334-4E67-F94F-A05E-0CE8B74A054E}" type="slidenum">
              <a:rPr lang="en-US" smtClean="0"/>
              <a:t>33</a:t>
            </a:fld>
            <a:endParaRPr lang="en-US" dirty="0"/>
          </a:p>
        </p:txBody>
      </p:sp>
      <p:pic>
        <p:nvPicPr>
          <p:cNvPr id="10" name="Content Placeholder 9">
            <a:extLst>
              <a:ext uri="{FF2B5EF4-FFF2-40B4-BE49-F238E27FC236}">
                <a16:creationId xmlns:a16="http://schemas.microsoft.com/office/drawing/2014/main" id="{F8DC7300-BB21-4B5F-8666-15092835C42A}"/>
              </a:ext>
            </a:extLst>
          </p:cNvPr>
          <p:cNvPicPr>
            <a:picLocks noGrp="1" noChangeAspect="1"/>
          </p:cNvPicPr>
          <p:nvPr>
            <p:ph idx="1"/>
          </p:nvPr>
        </p:nvPicPr>
        <p:blipFill>
          <a:blip r:embed="rId2"/>
          <a:stretch>
            <a:fillRect/>
          </a:stretch>
        </p:blipFill>
        <p:spPr>
          <a:xfrm>
            <a:off x="1138874" y="1362075"/>
            <a:ext cx="8980802" cy="43513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888613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7DE60-82B3-4F57-AFEF-2F8EB7AD845F}"/>
              </a:ext>
            </a:extLst>
          </p:cNvPr>
          <p:cNvSpPr>
            <a:spLocks noGrp="1"/>
          </p:cNvSpPr>
          <p:nvPr>
            <p:ph type="title"/>
          </p:nvPr>
        </p:nvSpPr>
        <p:spPr/>
        <p:txBody>
          <a:bodyPr/>
          <a:lstStyle/>
          <a:p>
            <a:r>
              <a:rPr lang="en-US" b="1" dirty="0"/>
              <a:t>General Ledger Trial Balance Report (daily report)</a:t>
            </a:r>
            <a:endParaRPr lang="en-US" dirty="0"/>
          </a:p>
        </p:txBody>
      </p:sp>
      <p:sp>
        <p:nvSpPr>
          <p:cNvPr id="4" name="Slide Number Placeholder 3">
            <a:extLst>
              <a:ext uri="{FF2B5EF4-FFF2-40B4-BE49-F238E27FC236}">
                <a16:creationId xmlns:a16="http://schemas.microsoft.com/office/drawing/2014/main" id="{5564D8BB-94A7-43BC-A9F9-42E68947A984}"/>
              </a:ext>
            </a:extLst>
          </p:cNvPr>
          <p:cNvSpPr>
            <a:spLocks noGrp="1"/>
          </p:cNvSpPr>
          <p:nvPr>
            <p:ph type="sldNum" sz="quarter" idx="12"/>
          </p:nvPr>
        </p:nvSpPr>
        <p:spPr/>
        <p:txBody>
          <a:bodyPr/>
          <a:lstStyle/>
          <a:p>
            <a:fld id="{670A9334-4E67-F94F-A05E-0CE8B74A054E}" type="slidenum">
              <a:rPr lang="en-US" smtClean="0"/>
              <a:t>34</a:t>
            </a:fld>
            <a:endParaRPr lang="en-US" dirty="0"/>
          </a:p>
        </p:txBody>
      </p:sp>
      <p:pic>
        <p:nvPicPr>
          <p:cNvPr id="7" name="Content Placeholder 6">
            <a:extLst>
              <a:ext uri="{FF2B5EF4-FFF2-40B4-BE49-F238E27FC236}">
                <a16:creationId xmlns:a16="http://schemas.microsoft.com/office/drawing/2014/main" id="{69BD721A-AAD7-4C83-BCE3-8CF2DE1ABFA9}"/>
              </a:ext>
            </a:extLst>
          </p:cNvPr>
          <p:cNvPicPr>
            <a:picLocks noGrp="1" noChangeAspect="1"/>
          </p:cNvPicPr>
          <p:nvPr>
            <p:ph idx="1"/>
          </p:nvPr>
        </p:nvPicPr>
        <p:blipFill>
          <a:blip r:embed="rId2"/>
          <a:stretch>
            <a:fillRect/>
          </a:stretch>
        </p:blipFill>
        <p:spPr>
          <a:xfrm>
            <a:off x="2383736" y="1362075"/>
            <a:ext cx="6491078" cy="43513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545076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1FDC9-E192-4001-BF2C-1F42E648E790}"/>
              </a:ext>
            </a:extLst>
          </p:cNvPr>
          <p:cNvSpPr>
            <a:spLocks noGrp="1"/>
          </p:cNvSpPr>
          <p:nvPr>
            <p:ph type="title"/>
          </p:nvPr>
        </p:nvSpPr>
        <p:spPr/>
        <p:txBody>
          <a:bodyPr/>
          <a:lstStyle/>
          <a:p>
            <a:r>
              <a:rPr lang="en-US" dirty="0"/>
              <a:t>Section 4: The Reimbursable Process at VA/VHA</a:t>
            </a:r>
          </a:p>
        </p:txBody>
      </p:sp>
      <p:pic>
        <p:nvPicPr>
          <p:cNvPr id="6" name="Content Placeholder 5" descr="A picture containing schematic&#10;&#10;Description automatically generated">
            <a:extLst>
              <a:ext uri="{FF2B5EF4-FFF2-40B4-BE49-F238E27FC236}">
                <a16:creationId xmlns:a16="http://schemas.microsoft.com/office/drawing/2014/main" id="{82B1BD9E-8574-443F-BC1B-FA246876ABA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82008" y="1362075"/>
            <a:ext cx="6494534" cy="4351338"/>
          </a:xfrm>
        </p:spPr>
      </p:pic>
      <p:sp>
        <p:nvSpPr>
          <p:cNvPr id="4" name="Slide Number Placeholder 3">
            <a:extLst>
              <a:ext uri="{FF2B5EF4-FFF2-40B4-BE49-F238E27FC236}">
                <a16:creationId xmlns:a16="http://schemas.microsoft.com/office/drawing/2014/main" id="{FAD375EB-F87F-4717-9CE6-55890E9488E5}"/>
              </a:ext>
            </a:extLst>
          </p:cNvPr>
          <p:cNvSpPr>
            <a:spLocks noGrp="1"/>
          </p:cNvSpPr>
          <p:nvPr>
            <p:ph type="sldNum" sz="quarter" idx="12"/>
          </p:nvPr>
        </p:nvSpPr>
        <p:spPr/>
        <p:txBody>
          <a:bodyPr/>
          <a:lstStyle/>
          <a:p>
            <a:fld id="{670A9334-4E67-F94F-A05E-0CE8B74A054E}" type="slidenum">
              <a:rPr lang="en-US" smtClean="0"/>
              <a:t>35</a:t>
            </a:fld>
            <a:endParaRPr lang="en-US" dirty="0"/>
          </a:p>
        </p:txBody>
      </p:sp>
    </p:spTree>
    <p:extLst>
      <p:ext uri="{BB962C8B-B14F-4D97-AF65-F5344CB8AC3E}">
        <p14:creationId xmlns:p14="http://schemas.microsoft.com/office/powerpoint/2010/main" val="19724963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852755"/>
          </a:xfrm>
        </p:spPr>
        <p:txBody>
          <a:bodyPr/>
          <a:lstStyle/>
          <a:p>
            <a:r>
              <a:rPr lang="en-US" altLang="en-US" dirty="0"/>
              <a:t>VHA Finance Process</a:t>
            </a:r>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840792" y="1133669"/>
            <a:ext cx="9702800" cy="4953000"/>
          </a:xfrm>
        </p:spPr>
        <p:txBody>
          <a:bodyPr vert="horz" lIns="91440" tIns="45720" rIns="91440" bIns="45720" rtlCol="0" anchor="t">
            <a:noAutofit/>
          </a:bodyPr>
          <a:lstStyle/>
          <a:p>
            <a:pPr>
              <a:buClr>
                <a:srgbClr val="660066"/>
              </a:buClr>
              <a:defRPr/>
            </a:pPr>
            <a:r>
              <a:rPr lang="en-US" sz="2000" kern="1400" dirty="0">
                <a:ea typeface="Times New Roman" panose="02020603050405020304" pitchFamily="18" charset="0"/>
              </a:rPr>
              <a:t>E</a:t>
            </a:r>
            <a:r>
              <a:rPr lang="en-US" sz="2000" kern="1400" dirty="0">
                <a:effectLst/>
                <a:ea typeface="Times New Roman" panose="02020603050405020304" pitchFamily="18" charset="0"/>
              </a:rPr>
              <a:t>ffective FY 2018, all VA Administrations and Staff Offices must record their reimbursable activities using the R1 reimbursable-only fund codes. For Research, this is fund code 0161R1</a:t>
            </a:r>
            <a:r>
              <a:rPr lang="en-US" sz="2000" kern="1400" dirty="0">
                <a:ea typeface="Times New Roman" panose="02020603050405020304" pitchFamily="18" charset="0"/>
              </a:rPr>
              <a:t> and 0161X2. </a:t>
            </a:r>
          </a:p>
          <a:p>
            <a:pPr>
              <a:buClr>
                <a:srgbClr val="660066"/>
              </a:buClr>
              <a:defRPr/>
            </a:pPr>
            <a:r>
              <a:rPr lang="en-US" sz="2000" b="1" kern="1400" dirty="0">
                <a:effectLst/>
                <a:ea typeface="Times New Roman" panose="02020603050405020304" pitchFamily="18" charset="0"/>
              </a:rPr>
              <a:t>This information was provided in:</a:t>
            </a:r>
            <a:r>
              <a:rPr lang="en-US" sz="2000" kern="1400" dirty="0">
                <a:effectLst/>
                <a:ea typeface="Times New Roman" panose="02020603050405020304" pitchFamily="18" charset="0"/>
              </a:rPr>
              <a:t> </a:t>
            </a:r>
            <a:r>
              <a:rPr lang="en-US" sz="2000" kern="1400" dirty="0">
                <a:solidFill>
                  <a:schemeClr val="accent1"/>
                </a:solidFill>
                <a:ea typeface="Times New Roman" panose="02020603050405020304" pitchFamily="18" charset="0"/>
                <a:hlinkClick r:id="rId3">
                  <a:extLst>
                    <a:ext uri="{A12FA001-AC4F-418D-AE19-62706E023703}">
                      <ahyp:hlinkClr xmlns:ahyp="http://schemas.microsoft.com/office/drawing/2018/hyperlinkcolor" val="tx"/>
                    </a:ext>
                  </a:extLst>
                </a:hlinkClick>
              </a:rPr>
              <a:t>VHA Finance Alert Volume 2020, Issue 001</a:t>
            </a:r>
            <a:endParaRPr lang="en-US" sz="2000" kern="1400" dirty="0">
              <a:solidFill>
                <a:schemeClr val="accent1"/>
              </a:solidFill>
              <a:effectLst/>
              <a:ea typeface="Times New Roman" panose="02020603050405020304" pitchFamily="18" charset="0"/>
            </a:endParaRPr>
          </a:p>
          <a:p>
            <a:pPr>
              <a:buClr>
                <a:srgbClr val="660066"/>
              </a:buClr>
              <a:defRPr/>
            </a:pPr>
            <a:r>
              <a:rPr lang="en-US" sz="2000" u="sng" kern="1400" dirty="0">
                <a:ea typeface="Times New Roman" panose="02020603050405020304" pitchFamily="18" charset="0"/>
              </a:rPr>
              <a:t>This required because of the following requirements:</a:t>
            </a:r>
          </a:p>
          <a:p>
            <a:pPr lvl="1">
              <a:buClr>
                <a:srgbClr val="660066"/>
              </a:buClr>
              <a:defRPr/>
            </a:pPr>
            <a:r>
              <a:rPr lang="en-US" sz="1600" i="1" kern="1400" dirty="0">
                <a:effectLst/>
                <a:ea typeface="Times New Roman" panose="02020603050405020304" pitchFamily="18" charset="0"/>
              </a:rPr>
              <a:t>Statutory requirement established in Federal Financial Management Improvement Act of 1996 (FFMIA)</a:t>
            </a:r>
          </a:p>
          <a:p>
            <a:pPr lvl="1">
              <a:buClr>
                <a:srgbClr val="660066"/>
              </a:buClr>
              <a:defRPr/>
            </a:pPr>
            <a:r>
              <a:rPr lang="en-US" sz="1600" i="1" kern="1400" dirty="0">
                <a:effectLst/>
                <a:ea typeface="Times New Roman" panose="02020603050405020304" pitchFamily="18" charset="0"/>
              </a:rPr>
              <a:t>OMB implementing guidance for FFMIA was issued as Memorandum M-13-23, Appendix D to Circular No. A-123, Compliance with the Federal Financial Management Improvement Act of 1996.</a:t>
            </a:r>
          </a:p>
          <a:p>
            <a:pPr lvl="1">
              <a:buClr>
                <a:srgbClr val="660066"/>
              </a:buClr>
              <a:defRPr/>
            </a:pPr>
            <a:r>
              <a:rPr lang="en-US" sz="1600" i="1" kern="1400" dirty="0">
                <a:effectLst/>
                <a:ea typeface="Times New Roman" panose="02020603050405020304" pitchFamily="18" charset="0"/>
              </a:rPr>
              <a:t>Treasury implementing guidance is issued in the Treasury Financial Manual (TFM), Part 2, Section IV: USSGL Account Attributes</a:t>
            </a:r>
          </a:p>
          <a:p>
            <a:pPr lvl="1">
              <a:buClr>
                <a:srgbClr val="660066"/>
              </a:buClr>
              <a:defRPr/>
            </a:pPr>
            <a:r>
              <a:rPr lang="en-US" sz="1600" i="1" kern="1400" dirty="0">
                <a:effectLst/>
                <a:ea typeface="Times New Roman" panose="02020603050405020304" pitchFamily="18" charset="0"/>
              </a:rPr>
              <a:t>VA policy guidance issued September 1, 2017, in memorandum from Acting Assistant Secretary for Management and Interim Chief Financial Officer</a:t>
            </a:r>
          </a:p>
          <a:p>
            <a:pPr lvl="1">
              <a:buClr>
                <a:srgbClr val="660066"/>
              </a:buClr>
              <a:defRPr/>
            </a:pPr>
            <a:r>
              <a:rPr lang="en-US" sz="1600" i="1" kern="1400" dirty="0">
                <a:effectLst/>
                <a:ea typeface="Times New Roman" panose="02020603050405020304" pitchFamily="18" charset="0"/>
              </a:rPr>
              <a:t>The FSC Intragovernmental Reimbursement Guide includes detailed operational procedures regarding reimbursable agreements.</a:t>
            </a:r>
          </a:p>
          <a:p>
            <a:pPr marL="0" indent="0">
              <a:buClr>
                <a:srgbClr val="660066"/>
              </a:buClr>
              <a:buNone/>
              <a:defRPr/>
            </a:pPr>
            <a:r>
              <a:rPr lang="en-US" sz="2000" kern="1400" dirty="0">
                <a:ea typeface="Times New Roman" panose="02020603050405020304" pitchFamily="18" charset="0"/>
              </a:rPr>
              <a:t>More information can be found here: </a:t>
            </a:r>
            <a:r>
              <a:rPr lang="en-US" sz="2000" kern="1400" dirty="0">
                <a:solidFill>
                  <a:schemeClr val="accent1"/>
                </a:solidFill>
                <a:hlinkClick r:id="rId4">
                  <a:extLst>
                    <a:ext uri="{A12FA001-AC4F-418D-AE19-62706E023703}">
                      <ahyp:hlinkClr xmlns:ahyp="http://schemas.microsoft.com/office/drawing/2018/hyperlinkcolor" val="tx"/>
                    </a:ext>
                  </a:extLst>
                </a:hlinkClick>
              </a:rPr>
              <a:t>https://vaww.va.gov/fmshome/reimbursementPolicies.asp</a:t>
            </a:r>
            <a:endParaRPr lang="en-US" sz="2000" kern="1400" dirty="0">
              <a:solidFill>
                <a:schemeClr val="accent1"/>
              </a:solidFill>
            </a:endParaRPr>
          </a:p>
          <a:p>
            <a:pPr>
              <a:buClr>
                <a:srgbClr val="660066"/>
              </a:buClr>
              <a:defRPr/>
            </a:pPr>
            <a:endParaRPr lang="en-US" sz="2000" i="1" kern="1400" dirty="0">
              <a:effectLst/>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endParaRPr lang="en-US" sz="2000" kern="1400" dirty="0">
              <a:solidFill>
                <a:srgbClr val="002060"/>
              </a:solidFill>
              <a:effectLst/>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endParaRPr lang="en-US" sz="2000" kern="1400" dirty="0">
              <a:solidFill>
                <a:srgbClr val="002060"/>
              </a:solidFill>
              <a:effectLst/>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r>
              <a:rPr lang="en-US" sz="2000" kern="1400" dirty="0">
                <a:solidFill>
                  <a:srgbClr val="002060"/>
                </a:solidFill>
                <a:effectLst/>
                <a:ea typeface="Times New Roman" panose="02020603050405020304" pitchFamily="18" charset="0"/>
              </a:rPr>
              <a:t>VA policy guidance and other relevant documents are available at VA Website:  </a:t>
            </a:r>
            <a:r>
              <a:rPr lang="en-US" sz="2000" u="sng" kern="1400" dirty="0">
                <a:solidFill>
                  <a:srgbClr val="000000"/>
                </a:solidFill>
                <a:effectLst/>
                <a:ea typeface="Times New Roman" panose="02020603050405020304" pitchFamily="18" charset="0"/>
                <a:hlinkClick r:id="rId4"/>
              </a:rPr>
              <a:t>https://vaww.va.gov/fmshome/reimbursementPolicies.asp</a:t>
            </a:r>
            <a:endParaRPr lang="en-US" sz="2000" kern="1400" dirty="0">
              <a:solidFill>
                <a:srgbClr val="000000"/>
              </a:solidFill>
              <a:effectLst/>
              <a:ea typeface="Times New Roman" panose="02020603050405020304" pitchFamily="18" charset="0"/>
            </a:endParaRPr>
          </a:p>
          <a:p>
            <a:pPr>
              <a:buClr>
                <a:srgbClr val="660066"/>
              </a:buClr>
              <a:defRPr/>
            </a:pPr>
            <a:endParaRPr lang="en-US" sz="1600"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1"/>
            <a:ext cx="11616612" cy="924674"/>
          </a:xfrm>
        </p:spPr>
        <p:txBody>
          <a:bodyPr/>
          <a:lstStyle/>
          <a:p>
            <a:r>
              <a:rPr lang="en-US" altLang="en-US" dirty="0"/>
              <a:t>VHA Finance/Reimbursable Process</a:t>
            </a:r>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840792" y="1133669"/>
            <a:ext cx="9702800" cy="4953000"/>
          </a:xfrm>
        </p:spPr>
        <p:txBody>
          <a:bodyPr vert="horz" lIns="91440" tIns="45720" rIns="91440" bIns="45720" rtlCol="0" anchor="t">
            <a:noAutofit/>
          </a:bodyPr>
          <a:lstStyle/>
          <a:p>
            <a:pPr>
              <a:buClr>
                <a:srgbClr val="660066"/>
              </a:buClr>
              <a:defRPr/>
            </a:pPr>
            <a:r>
              <a:rPr lang="en-US" sz="2000" kern="1400" dirty="0">
                <a:ea typeface="Times New Roman" panose="02020603050405020304" pitchFamily="18" charset="0"/>
              </a:rPr>
              <a:t>As bills of collection are processed within the R Funds by stations and their associated reimbursements are received and processed within FMS against any of the 425 General Ledger accounts.</a:t>
            </a:r>
          </a:p>
          <a:p>
            <a:pPr>
              <a:buClr>
                <a:srgbClr val="660066"/>
              </a:buClr>
              <a:defRPr/>
            </a:pPr>
            <a:r>
              <a:rPr lang="en-US" sz="2000" kern="1400" dirty="0">
                <a:ea typeface="Times New Roman" panose="02020603050405020304" pitchFamily="18" charset="0"/>
              </a:rPr>
              <a:t>Reimbursements received in one month are first balanced to end of month Trial Balances in the subsequent month, before the TDAs are released to stations.  </a:t>
            </a:r>
          </a:p>
          <a:p>
            <a:pPr>
              <a:buClr>
                <a:srgbClr val="660066"/>
              </a:buClr>
              <a:defRPr/>
            </a:pPr>
            <a:r>
              <a:rPr lang="en-US" sz="2000" kern="1400" dirty="0">
                <a:ea typeface="Times New Roman" panose="02020603050405020304" pitchFamily="18" charset="0"/>
              </a:rPr>
              <a:t>VHA Finance</a:t>
            </a:r>
            <a:r>
              <a:rPr lang="en-US" sz="2000" dirty="0"/>
              <a:t> downloads the US General Ledger 425F, 425G and 425P as of Close of Business (COB) the second Thursday.</a:t>
            </a:r>
            <a:endParaRPr lang="en-US" sz="2000" kern="1400" dirty="0">
              <a:ea typeface="Times New Roman" panose="02020603050405020304" pitchFamily="18" charset="0"/>
            </a:endParaRPr>
          </a:p>
          <a:p>
            <a:pPr>
              <a:buClr>
                <a:srgbClr val="660066"/>
              </a:buClr>
              <a:defRPr/>
            </a:pPr>
            <a:r>
              <a:rPr lang="en-US" sz="2000" kern="1400" dirty="0">
                <a:ea typeface="Times New Roman" panose="02020603050405020304" pitchFamily="18" charset="0"/>
              </a:rPr>
              <a:t>Stations will typically receive their TDAs by the third week of the subsequent month.  </a:t>
            </a:r>
          </a:p>
          <a:p>
            <a:pPr>
              <a:buClr>
                <a:srgbClr val="660066"/>
              </a:buClr>
              <a:defRPr/>
            </a:pPr>
            <a:r>
              <a:rPr lang="en-US" sz="2000" kern="1400" dirty="0">
                <a:ea typeface="Times New Roman" panose="02020603050405020304" pitchFamily="18" charset="0"/>
              </a:rPr>
              <a:t>Once the funds are received by the station, stations will record obligations to support their agreements.</a:t>
            </a:r>
          </a:p>
          <a:p>
            <a:pPr>
              <a:buClr>
                <a:srgbClr val="660066"/>
              </a:buClr>
              <a:defRPr/>
            </a:pPr>
            <a:r>
              <a:rPr lang="en-US" sz="2000" kern="1400" dirty="0">
                <a:ea typeface="Times New Roman" panose="02020603050405020304" pitchFamily="18" charset="0"/>
              </a:rPr>
              <a:t>Facilities can either obligate directly out </a:t>
            </a:r>
            <a:r>
              <a:rPr lang="en-US" sz="2000" b="1" kern="1400" dirty="0">
                <a:ea typeface="Times New Roman" panose="02020603050405020304" pitchFamily="18" charset="0"/>
              </a:rPr>
              <a:t>0161R1</a:t>
            </a:r>
            <a:r>
              <a:rPr lang="en-US" sz="2000" kern="1400" dirty="0">
                <a:ea typeface="Times New Roman" panose="02020603050405020304" pitchFamily="18" charset="0"/>
              </a:rPr>
              <a:t> fund or cost transfer into the R fund to execute these dollars.  All cost transfers must be processed before the end of each month.  SALT and ALLW tables will be created, and stations will be able to utilize any appropriate ACC, Cost Center or Budget Object Code (BOC) that support their agreement. </a:t>
            </a:r>
          </a:p>
          <a:p>
            <a:pPr lvl="1">
              <a:buClr>
                <a:srgbClr val="660066"/>
              </a:buClr>
              <a:defRPr/>
            </a:pPr>
            <a:r>
              <a:rPr lang="en-US" sz="1600" kern="1400" dirty="0">
                <a:ea typeface="Times New Roman" panose="02020603050405020304" pitchFamily="18" charset="0"/>
                <a:hlinkClick r:id="rId3"/>
              </a:rPr>
              <a:t>https://www.va.gov/finance/docs/VA-FinancialPolicyVolumeIChapter11.pdf</a:t>
            </a:r>
            <a:r>
              <a:rPr lang="en-US" sz="1600" kern="1400" dirty="0">
                <a:ea typeface="Times New Roman" panose="02020603050405020304" pitchFamily="18" charset="0"/>
              </a:rPr>
              <a:t> </a:t>
            </a:r>
          </a:p>
          <a:p>
            <a:pPr>
              <a:buClr>
                <a:srgbClr val="660066"/>
              </a:buClr>
              <a:defRPr/>
            </a:pPr>
            <a:endParaRPr lang="en-US" sz="2000" kern="1400" dirty="0">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endParaRPr lang="en-US" sz="2000" kern="1400" dirty="0">
              <a:solidFill>
                <a:srgbClr val="002060"/>
              </a:solidFill>
              <a:effectLst/>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endParaRPr lang="en-US" sz="2000" kern="1400" dirty="0">
              <a:solidFill>
                <a:srgbClr val="002060"/>
              </a:solidFill>
              <a:effectLst/>
              <a:ea typeface="Times New Roman" panose="02020603050405020304" pitchFamily="18" charset="0"/>
            </a:endParaRPr>
          </a:p>
          <a:p>
            <a:pPr>
              <a:buClr>
                <a:srgbClr val="660066"/>
              </a:buClr>
              <a:defRPr/>
            </a:pPr>
            <a:endParaRPr lang="en-US" sz="2000" kern="1400" dirty="0">
              <a:solidFill>
                <a:srgbClr val="002060"/>
              </a:solidFill>
              <a:ea typeface="Times New Roman" panose="02020603050405020304" pitchFamily="18" charset="0"/>
            </a:endParaRPr>
          </a:p>
          <a:p>
            <a:pPr>
              <a:buClr>
                <a:srgbClr val="660066"/>
              </a:buClr>
              <a:defRPr/>
            </a:pPr>
            <a:endParaRPr lang="en-US" sz="1600" dirty="0"/>
          </a:p>
        </p:txBody>
      </p:sp>
    </p:spTree>
    <p:extLst>
      <p:ext uri="{BB962C8B-B14F-4D97-AF65-F5344CB8AC3E}">
        <p14:creationId xmlns:p14="http://schemas.microsoft.com/office/powerpoint/2010/main" val="2463715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E4F71-A780-4EDF-ABE7-01FCB7FDCF93}"/>
              </a:ext>
            </a:extLst>
          </p:cNvPr>
          <p:cNvSpPr>
            <a:spLocks noGrp="1"/>
          </p:cNvSpPr>
          <p:nvPr>
            <p:ph type="title"/>
          </p:nvPr>
        </p:nvSpPr>
        <p:spPr/>
        <p:txBody>
          <a:bodyPr/>
          <a:lstStyle/>
          <a:p>
            <a:r>
              <a:rPr lang="en-US" dirty="0"/>
              <a:t>VHA Finance Distributes Reimbursements Report</a:t>
            </a:r>
          </a:p>
        </p:txBody>
      </p:sp>
      <p:pic>
        <p:nvPicPr>
          <p:cNvPr id="5" name="Content Placeholder 4">
            <a:extLst>
              <a:ext uri="{FF2B5EF4-FFF2-40B4-BE49-F238E27FC236}">
                <a16:creationId xmlns:a16="http://schemas.microsoft.com/office/drawing/2014/main" id="{B88D223E-8E20-4EB6-B1C9-EFB52C95BBCD}"/>
              </a:ext>
            </a:extLst>
          </p:cNvPr>
          <p:cNvPicPr>
            <a:picLocks noGrp="1" noChangeAspect="1"/>
          </p:cNvPicPr>
          <p:nvPr>
            <p:ph idx="1"/>
          </p:nvPr>
        </p:nvPicPr>
        <p:blipFill>
          <a:blip r:embed="rId2"/>
          <a:stretch>
            <a:fillRect/>
          </a:stretch>
        </p:blipFill>
        <p:spPr>
          <a:xfrm>
            <a:off x="371475" y="2067950"/>
            <a:ext cx="9885826" cy="3139593"/>
          </a:xfrm>
          <a:prstGeom prst="rect">
            <a:avLst/>
          </a:prstGeom>
        </p:spPr>
      </p:pic>
      <p:sp>
        <p:nvSpPr>
          <p:cNvPr id="4" name="Slide Number Placeholder 3">
            <a:extLst>
              <a:ext uri="{FF2B5EF4-FFF2-40B4-BE49-F238E27FC236}">
                <a16:creationId xmlns:a16="http://schemas.microsoft.com/office/drawing/2014/main" id="{83CC99A1-CD65-481D-9D71-79916455091D}"/>
              </a:ext>
            </a:extLst>
          </p:cNvPr>
          <p:cNvSpPr>
            <a:spLocks noGrp="1"/>
          </p:cNvSpPr>
          <p:nvPr>
            <p:ph type="sldNum" sz="quarter" idx="12"/>
          </p:nvPr>
        </p:nvSpPr>
        <p:spPr/>
        <p:txBody>
          <a:bodyPr/>
          <a:lstStyle/>
          <a:p>
            <a:fld id="{670A9334-4E67-F94F-A05E-0CE8B74A054E}" type="slidenum">
              <a:rPr lang="en-US" smtClean="0"/>
              <a:t>38</a:t>
            </a:fld>
            <a:endParaRPr lang="en-US" dirty="0"/>
          </a:p>
        </p:txBody>
      </p:sp>
      <p:sp>
        <p:nvSpPr>
          <p:cNvPr id="6" name="Rectangle 5">
            <a:extLst>
              <a:ext uri="{FF2B5EF4-FFF2-40B4-BE49-F238E27FC236}">
                <a16:creationId xmlns:a16="http://schemas.microsoft.com/office/drawing/2014/main" id="{CE1D0EBC-5D69-4139-B891-7EFAE1C1CFA0}"/>
              </a:ext>
            </a:extLst>
          </p:cNvPr>
          <p:cNvSpPr/>
          <p:nvPr/>
        </p:nvSpPr>
        <p:spPr>
          <a:xfrm>
            <a:off x="8032653" y="970671"/>
            <a:ext cx="3645486" cy="10410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earch should only be concerned with the rows in yellow</a:t>
            </a:r>
          </a:p>
        </p:txBody>
      </p:sp>
      <p:cxnSp>
        <p:nvCxnSpPr>
          <p:cNvPr id="8" name="Straight Arrow Connector 7">
            <a:extLst>
              <a:ext uri="{FF2B5EF4-FFF2-40B4-BE49-F238E27FC236}">
                <a16:creationId xmlns:a16="http://schemas.microsoft.com/office/drawing/2014/main" id="{691F1642-2482-4A99-82F5-19CC35D04B2A}"/>
              </a:ext>
            </a:extLst>
          </p:cNvPr>
          <p:cNvCxnSpPr/>
          <p:nvPr/>
        </p:nvCxnSpPr>
        <p:spPr>
          <a:xfrm flipH="1">
            <a:off x="7526215" y="1646555"/>
            <a:ext cx="534573" cy="4213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09369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2249B2-D0E0-1B91-25E6-882F3D7C4D29}"/>
              </a:ext>
            </a:extLst>
          </p:cNvPr>
          <p:cNvSpPr>
            <a:spLocks noGrp="1"/>
          </p:cNvSpPr>
          <p:nvPr>
            <p:ph type="title"/>
          </p:nvPr>
        </p:nvSpPr>
        <p:spPr/>
        <p:txBody>
          <a:bodyPr/>
          <a:lstStyle/>
          <a:p>
            <a:r>
              <a:rPr lang="en-US" dirty="0"/>
              <a:t>TDAs in AACS</a:t>
            </a:r>
          </a:p>
        </p:txBody>
      </p:sp>
      <p:sp>
        <p:nvSpPr>
          <p:cNvPr id="3" name="Content Placeholder 2">
            <a:extLst>
              <a:ext uri="{FF2B5EF4-FFF2-40B4-BE49-F238E27FC236}">
                <a16:creationId xmlns:a16="http://schemas.microsoft.com/office/drawing/2014/main" id="{9DE34CE4-0033-975D-82FB-6E4310B79C60}"/>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6318FB23-536B-5D00-E0FF-69CC8BA221D6}"/>
              </a:ext>
            </a:extLst>
          </p:cNvPr>
          <p:cNvSpPr>
            <a:spLocks noGrp="1"/>
          </p:cNvSpPr>
          <p:nvPr>
            <p:ph type="sldNum" sz="quarter" idx="12"/>
          </p:nvPr>
        </p:nvSpPr>
        <p:spPr/>
        <p:txBody>
          <a:bodyPr/>
          <a:lstStyle/>
          <a:p>
            <a:fld id="{670A9334-4E67-F94F-A05E-0CE8B74A054E}" type="slidenum">
              <a:rPr lang="en-US" smtClean="0"/>
              <a:t>39</a:t>
            </a:fld>
            <a:endParaRPr lang="en-US" dirty="0"/>
          </a:p>
        </p:txBody>
      </p:sp>
      <p:pic>
        <p:nvPicPr>
          <p:cNvPr id="6" name="Picture 5">
            <a:extLst>
              <a:ext uri="{FF2B5EF4-FFF2-40B4-BE49-F238E27FC236}">
                <a16:creationId xmlns:a16="http://schemas.microsoft.com/office/drawing/2014/main" id="{FBE7DBD7-D022-487A-F03B-A8B9DAE3377D}"/>
              </a:ext>
            </a:extLst>
          </p:cNvPr>
          <p:cNvPicPr>
            <a:picLocks noChangeAspect="1"/>
          </p:cNvPicPr>
          <p:nvPr/>
        </p:nvPicPr>
        <p:blipFill>
          <a:blip r:embed="rId2"/>
          <a:stretch>
            <a:fillRect/>
          </a:stretch>
        </p:blipFill>
        <p:spPr>
          <a:xfrm>
            <a:off x="366732" y="2099733"/>
            <a:ext cx="11691312" cy="3166533"/>
          </a:xfrm>
          <a:prstGeom prst="rect">
            <a:avLst/>
          </a:prstGeom>
        </p:spPr>
      </p:pic>
    </p:spTree>
    <p:extLst>
      <p:ext uri="{BB962C8B-B14F-4D97-AF65-F5344CB8AC3E}">
        <p14:creationId xmlns:p14="http://schemas.microsoft.com/office/powerpoint/2010/main" val="717978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5D541-8CAD-2B10-B185-F9491CF8F00E}"/>
              </a:ext>
            </a:extLst>
          </p:cNvPr>
          <p:cNvSpPr>
            <a:spLocks noGrp="1"/>
          </p:cNvSpPr>
          <p:nvPr>
            <p:ph type="title"/>
          </p:nvPr>
        </p:nvSpPr>
        <p:spPr/>
        <p:txBody>
          <a:bodyPr/>
          <a:lstStyle/>
          <a:p>
            <a:r>
              <a:rPr lang="en-US" dirty="0"/>
              <a:t>Appropriations Law and Swag (follow-up)</a:t>
            </a:r>
          </a:p>
        </p:txBody>
      </p:sp>
      <p:sp>
        <p:nvSpPr>
          <p:cNvPr id="3" name="Content Placeholder 2">
            <a:extLst>
              <a:ext uri="{FF2B5EF4-FFF2-40B4-BE49-F238E27FC236}">
                <a16:creationId xmlns:a16="http://schemas.microsoft.com/office/drawing/2014/main" id="{A4D293E5-517E-42F6-FEE2-180717472461}"/>
              </a:ext>
            </a:extLst>
          </p:cNvPr>
          <p:cNvSpPr>
            <a:spLocks noGrp="1"/>
          </p:cNvSpPr>
          <p:nvPr>
            <p:ph idx="1"/>
          </p:nvPr>
        </p:nvSpPr>
        <p:spPr/>
        <p:txBody>
          <a:bodyPr/>
          <a:lstStyle/>
          <a:p>
            <a:r>
              <a:rPr lang="en-US" sz="2000" dirty="0"/>
              <a:t>It is not permissible to purchase promotional items, such as mementos, gifts, keepsakes, prize items, and other VA “logo” or “message” items, for distribution to VA and other federal employees.</a:t>
            </a:r>
          </a:p>
          <a:p>
            <a:r>
              <a:rPr lang="en-US" sz="2000" dirty="0"/>
              <a:t>The VA may however, continue to purchase promotional items intended for the Veterans, such as informational and educational materials that directs Veterans to services (e.g., Veteran Crisis Lines, benefits services counseling) and have a clear connection with VA’s mission.</a:t>
            </a:r>
          </a:p>
          <a:p>
            <a:pPr>
              <a:spcBef>
                <a:spcPts val="0"/>
              </a:spcBef>
            </a:pPr>
            <a:r>
              <a:rPr lang="en-US" sz="2000" dirty="0">
                <a:effectLst/>
                <a:ea typeface="Calibri" panose="020F0502020204030204" pitchFamily="34" charset="0"/>
              </a:rPr>
              <a:t>OGC’s advice (based on Comptroller General opinions) has always been that VA could not purchase mementos with “intrinsic value” for distribution, i.e., no value or use outside the workplace, such as t-shirts, jackets, mugs, water bottles, lunch totes, smartphone accessories, and the other items in the SWAG definition in the policy.</a:t>
            </a:r>
          </a:p>
          <a:p>
            <a:pPr>
              <a:spcBef>
                <a:spcPts val="0"/>
              </a:spcBef>
            </a:pPr>
            <a:endParaRPr lang="en-US" sz="1800" dirty="0">
              <a:latin typeface="Arial" panose="020B0604020202020204" pitchFamily="34" charset="0"/>
              <a:ea typeface="Calibri" panose="020F0502020204030204" pitchFamily="34" charset="0"/>
            </a:endParaRPr>
          </a:p>
          <a:p>
            <a:pPr>
              <a:spcBef>
                <a:spcPts val="0"/>
              </a:spcBef>
            </a:pPr>
            <a:endParaRPr lang="en-US" sz="1800" dirty="0">
              <a:effectLst/>
              <a:latin typeface="Arial" panose="020B0604020202020204" pitchFamily="34" charset="0"/>
              <a:ea typeface="Calibri" panose="020F0502020204030204" pitchFamily="34" charset="0"/>
            </a:endParaRPr>
          </a:p>
          <a:p>
            <a:pPr marL="0" indent="0">
              <a:spcBef>
                <a:spcPts val="0"/>
              </a:spcBef>
              <a:buNone/>
            </a:pPr>
            <a:r>
              <a:rPr lang="en-US" sz="1800" b="1" dirty="0">
                <a:effectLst/>
                <a:ea typeface="Calibri" panose="020F0502020204030204" pitchFamily="34" charset="0"/>
              </a:rPr>
              <a:t>Reference</a:t>
            </a:r>
            <a:r>
              <a:rPr lang="en-US" sz="1800" b="1" dirty="0">
                <a:effectLst/>
                <a:latin typeface="Arial" panose="020B0604020202020204" pitchFamily="34" charset="0"/>
                <a:ea typeface="Calibri" panose="020F0502020204030204" pitchFamily="34" charset="0"/>
              </a:rPr>
              <a:t>: </a:t>
            </a:r>
            <a:r>
              <a:rPr lang="en-US" sz="1800" u="sng" dirty="0">
                <a:solidFill>
                  <a:srgbClr val="0563C1"/>
                </a:solidFill>
                <a:effectLst/>
                <a:latin typeface="Calibri" panose="020F0502020204030204" pitchFamily="34" charset="0"/>
                <a:ea typeface="Calibri" panose="020F0502020204030204" pitchFamily="34" charset="0"/>
                <a:hlinkClick r:id="rId2"/>
              </a:rPr>
              <a:t>Volume II, Chapter 4 - Awards, Ceremonies, Food or Refreshments, Gifts or Mementos (va.gov)</a:t>
            </a:r>
            <a:endParaRPr lang="en-US" sz="1800" dirty="0">
              <a:effectLst/>
              <a:latin typeface="Calibri" panose="020F0502020204030204" pitchFamily="34" charset="0"/>
              <a:ea typeface="Calibri" panose="020F0502020204030204" pitchFamily="34" charset="0"/>
            </a:endParaRPr>
          </a:p>
          <a:p>
            <a:pPr marL="0" indent="0">
              <a:spcBef>
                <a:spcPts val="0"/>
              </a:spcBef>
              <a:buNone/>
            </a:pPr>
            <a:endParaRPr lang="en-US" sz="1800" dirty="0">
              <a:effectLst/>
              <a:latin typeface="Calibri" panose="020F0502020204030204" pitchFamily="34" charset="0"/>
              <a:ea typeface="Calibri" panose="020F0502020204030204" pitchFamily="34" charset="0"/>
            </a:endParaRPr>
          </a:p>
          <a:p>
            <a:endParaRPr lang="en-US" dirty="0"/>
          </a:p>
          <a:p>
            <a:endParaRPr lang="en-US" dirty="0"/>
          </a:p>
        </p:txBody>
      </p:sp>
      <p:sp>
        <p:nvSpPr>
          <p:cNvPr id="4" name="Slide Number Placeholder 3">
            <a:extLst>
              <a:ext uri="{FF2B5EF4-FFF2-40B4-BE49-F238E27FC236}">
                <a16:creationId xmlns:a16="http://schemas.microsoft.com/office/drawing/2014/main" id="{9AA0B157-8ABA-77F5-3E60-9B45CDEC7D9C}"/>
              </a:ext>
            </a:extLst>
          </p:cNvPr>
          <p:cNvSpPr>
            <a:spLocks noGrp="1"/>
          </p:cNvSpPr>
          <p:nvPr>
            <p:ph type="sldNum" sz="quarter" idx="12"/>
          </p:nvPr>
        </p:nvSpPr>
        <p:spPr/>
        <p:txBody>
          <a:bodyPr/>
          <a:lstStyle/>
          <a:p>
            <a:fld id="{670A9334-4E67-F94F-A05E-0CE8B74A054E}" type="slidenum">
              <a:rPr lang="en-US" smtClean="0"/>
              <a:t>4</a:t>
            </a:fld>
            <a:endParaRPr lang="en-US" dirty="0"/>
          </a:p>
        </p:txBody>
      </p:sp>
    </p:spTree>
    <p:extLst>
      <p:ext uri="{BB962C8B-B14F-4D97-AF65-F5344CB8AC3E}">
        <p14:creationId xmlns:p14="http://schemas.microsoft.com/office/powerpoint/2010/main" val="8003853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DFE2B-EBF7-4EFB-862D-5E1B2E49B806}"/>
              </a:ext>
            </a:extLst>
          </p:cNvPr>
          <p:cNvSpPr>
            <a:spLocks noGrp="1"/>
          </p:cNvSpPr>
          <p:nvPr>
            <p:ph type="title"/>
          </p:nvPr>
        </p:nvSpPr>
        <p:spPr/>
        <p:txBody>
          <a:bodyPr/>
          <a:lstStyle/>
          <a:p>
            <a:r>
              <a:rPr lang="en-US" dirty="0">
                <a:cs typeface="Calibri Light"/>
              </a:rPr>
              <a:t>Processing the TDA</a:t>
            </a:r>
          </a:p>
        </p:txBody>
      </p:sp>
      <p:sp>
        <p:nvSpPr>
          <p:cNvPr id="3" name="Content Placeholder 2">
            <a:extLst>
              <a:ext uri="{FF2B5EF4-FFF2-40B4-BE49-F238E27FC236}">
                <a16:creationId xmlns:a16="http://schemas.microsoft.com/office/drawing/2014/main" id="{D268CA07-AF6A-4A46-8158-685894F98E33}"/>
              </a:ext>
            </a:extLst>
          </p:cNvPr>
          <p:cNvSpPr>
            <a:spLocks noGrp="1"/>
          </p:cNvSpPr>
          <p:nvPr>
            <p:ph idx="1"/>
          </p:nvPr>
        </p:nvSpPr>
        <p:spPr>
          <a:xfrm>
            <a:off x="666750" y="1253331"/>
            <a:ext cx="10515600" cy="4351338"/>
          </a:xfrm>
        </p:spPr>
        <p:txBody>
          <a:bodyPr vert="horz" lIns="91440" tIns="45720" rIns="91440" bIns="45720" rtlCol="0" anchor="t">
            <a:noAutofit/>
          </a:bodyPr>
          <a:lstStyle/>
          <a:p>
            <a:r>
              <a:rPr lang="en-US" sz="2600" dirty="0">
                <a:cs typeface="Calibri"/>
              </a:rPr>
              <a:t>The TDA will inform you of the amount that you received in 0161R1 and 0161X2 funds for that month. </a:t>
            </a:r>
          </a:p>
          <a:p>
            <a:r>
              <a:rPr lang="en-US" sz="2600" dirty="0">
                <a:cs typeface="Calibri"/>
              </a:rPr>
              <a:t>Request Fiscal provide you with the F827 General Ledger Report. This report will provide you with the billing numbers for the reimbursables.</a:t>
            </a:r>
          </a:p>
          <a:p>
            <a:r>
              <a:rPr lang="en-US" sz="2600" dirty="0">
                <a:cs typeface="Calibri"/>
              </a:rPr>
              <a:t>Match the billing numbers with the bills that you have created to determine which bills were paid and the expenses that were reimbursed.</a:t>
            </a:r>
          </a:p>
          <a:p>
            <a:r>
              <a:rPr lang="en-US" sz="2600" dirty="0"/>
              <a:t>Once reimbursements are deposited into the 0161R1 or 0161X2 fund, you need to request a cost transfer to move those funds into the FCP where the expenses originally occurred. This should be done throughout the fiscal year, so you are not doing one cost transfer at the end. </a:t>
            </a:r>
            <a:r>
              <a:rPr lang="en-US" sz="2600" b="1" dirty="0"/>
              <a:t>Watch your 0161X2 balances!</a:t>
            </a:r>
            <a:endParaRPr lang="en-US" sz="2600" b="1" dirty="0">
              <a:cs typeface="Calibri" panose="020F0502020204030204"/>
            </a:endParaRPr>
          </a:p>
          <a:p>
            <a:endParaRPr lang="en-US" sz="2600" dirty="0">
              <a:cs typeface="Calibri" panose="020F0502020204030204"/>
            </a:endParaRPr>
          </a:p>
        </p:txBody>
      </p:sp>
    </p:spTree>
    <p:extLst>
      <p:ext uri="{BB962C8B-B14F-4D97-AF65-F5344CB8AC3E}">
        <p14:creationId xmlns:p14="http://schemas.microsoft.com/office/powerpoint/2010/main" val="26198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7636A-43EE-4BB6-B32A-9138E9F7C7CA}"/>
              </a:ext>
            </a:extLst>
          </p:cNvPr>
          <p:cNvSpPr>
            <a:spLocks noGrp="1"/>
          </p:cNvSpPr>
          <p:nvPr>
            <p:ph type="title"/>
          </p:nvPr>
        </p:nvSpPr>
        <p:spPr/>
        <p:txBody>
          <a:bodyPr/>
          <a:lstStyle/>
          <a:p>
            <a:r>
              <a:rPr lang="en-US" dirty="0"/>
              <a:t>End of Year Processing Requirements </a:t>
            </a:r>
          </a:p>
        </p:txBody>
      </p:sp>
      <p:sp>
        <p:nvSpPr>
          <p:cNvPr id="3" name="Content Placeholder 2">
            <a:extLst>
              <a:ext uri="{FF2B5EF4-FFF2-40B4-BE49-F238E27FC236}">
                <a16:creationId xmlns:a16="http://schemas.microsoft.com/office/drawing/2014/main" id="{09E1556B-5B39-482F-8494-CB1639A8042D}"/>
              </a:ext>
            </a:extLst>
          </p:cNvPr>
          <p:cNvSpPr>
            <a:spLocks noGrp="1"/>
          </p:cNvSpPr>
          <p:nvPr>
            <p:ph idx="1"/>
          </p:nvPr>
        </p:nvSpPr>
        <p:spPr/>
        <p:txBody>
          <a:bodyPr/>
          <a:lstStyle/>
          <a:p>
            <a:r>
              <a:rPr lang="en-US" dirty="0"/>
              <a:t>The VHA Office of Finance will download September data and process TDAs as follows:</a:t>
            </a:r>
          </a:p>
          <a:p>
            <a:pPr lvl="1"/>
            <a:r>
              <a:rPr lang="en-US" dirty="0"/>
              <a:t>First download from the General Ledger 425F, 425G and 425P as of Close of Business (COB) the second Thursday in September of each year. TDAs will be processed on the second Friday of September.</a:t>
            </a:r>
          </a:p>
          <a:p>
            <a:pPr lvl="1"/>
            <a:r>
              <a:rPr lang="en-US" dirty="0"/>
              <a:t>Second download from the General Ledger 425F, 425G and 425P as of COB the third Friday in, September of each year and TDA’s processed following Monday.</a:t>
            </a:r>
          </a:p>
          <a:p>
            <a:pPr lvl="1"/>
            <a:r>
              <a:rPr lang="en-US" b="1" dirty="0"/>
              <a:t>Reimbursements after the third Friday of September will be kept in the National Reserve.</a:t>
            </a:r>
          </a:p>
          <a:p>
            <a:pPr lvl="1"/>
            <a:r>
              <a:rPr lang="en-US" dirty="0"/>
              <a:t>All uncollected or unearned reimbursable agreements must be adjusted to a zero balance and any advances returned prior to September 28th. </a:t>
            </a:r>
          </a:p>
          <a:p>
            <a:endParaRPr lang="en-US" dirty="0"/>
          </a:p>
          <a:p>
            <a:endParaRPr lang="en-US" dirty="0"/>
          </a:p>
        </p:txBody>
      </p:sp>
      <p:sp>
        <p:nvSpPr>
          <p:cNvPr id="4" name="Slide Number Placeholder 3">
            <a:extLst>
              <a:ext uri="{FF2B5EF4-FFF2-40B4-BE49-F238E27FC236}">
                <a16:creationId xmlns:a16="http://schemas.microsoft.com/office/drawing/2014/main" id="{D0FFAEBC-2475-4EAB-B7F4-BC8F4AA94BB7}"/>
              </a:ext>
            </a:extLst>
          </p:cNvPr>
          <p:cNvSpPr>
            <a:spLocks noGrp="1"/>
          </p:cNvSpPr>
          <p:nvPr>
            <p:ph type="sldNum" sz="quarter" idx="12"/>
          </p:nvPr>
        </p:nvSpPr>
        <p:spPr/>
        <p:txBody>
          <a:bodyPr/>
          <a:lstStyle/>
          <a:p>
            <a:fld id="{670A9334-4E67-F94F-A05E-0CE8B74A054E}" type="slidenum">
              <a:rPr lang="en-US" smtClean="0"/>
              <a:t>41</a:t>
            </a:fld>
            <a:endParaRPr lang="en-US" dirty="0"/>
          </a:p>
        </p:txBody>
      </p:sp>
    </p:spTree>
    <p:extLst>
      <p:ext uri="{BB962C8B-B14F-4D97-AF65-F5344CB8AC3E}">
        <p14:creationId xmlns:p14="http://schemas.microsoft.com/office/powerpoint/2010/main" val="3217516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5D576-C212-C6DC-47AB-0DF716E9C155}"/>
              </a:ext>
            </a:extLst>
          </p:cNvPr>
          <p:cNvSpPr>
            <a:spLocks noGrp="1"/>
          </p:cNvSpPr>
          <p:nvPr>
            <p:ph type="title"/>
          </p:nvPr>
        </p:nvSpPr>
        <p:spPr/>
        <p:txBody>
          <a:bodyPr/>
          <a:lstStyle/>
          <a:p>
            <a:r>
              <a:rPr lang="en-US" dirty="0"/>
              <a:t>Section 5: End of Year Processing Requirements </a:t>
            </a:r>
          </a:p>
        </p:txBody>
      </p:sp>
      <p:pic>
        <p:nvPicPr>
          <p:cNvPr id="6" name="Content Placeholder 5">
            <a:extLst>
              <a:ext uri="{FF2B5EF4-FFF2-40B4-BE49-F238E27FC236}">
                <a16:creationId xmlns:a16="http://schemas.microsoft.com/office/drawing/2014/main" id="{7B0027E1-FA38-AB99-BB69-3EF430909191}"/>
              </a:ext>
            </a:extLst>
          </p:cNvPr>
          <p:cNvPicPr>
            <a:picLocks noGrp="1" noChangeAspect="1"/>
          </p:cNvPicPr>
          <p:nvPr>
            <p:ph idx="1"/>
          </p:nvPr>
        </p:nvPicPr>
        <p:blipFill>
          <a:blip r:embed="rId2"/>
          <a:stretch>
            <a:fillRect/>
          </a:stretch>
        </p:blipFill>
        <p:spPr>
          <a:xfrm>
            <a:off x="1983551" y="3056118"/>
            <a:ext cx="7291448" cy="963251"/>
          </a:xfrm>
        </p:spPr>
      </p:pic>
      <p:sp>
        <p:nvSpPr>
          <p:cNvPr id="4" name="Slide Number Placeholder 3">
            <a:extLst>
              <a:ext uri="{FF2B5EF4-FFF2-40B4-BE49-F238E27FC236}">
                <a16:creationId xmlns:a16="http://schemas.microsoft.com/office/drawing/2014/main" id="{B7F7E5A7-5829-28B2-9E81-F753C68723D2}"/>
              </a:ext>
            </a:extLst>
          </p:cNvPr>
          <p:cNvSpPr>
            <a:spLocks noGrp="1"/>
          </p:cNvSpPr>
          <p:nvPr>
            <p:ph type="sldNum" sz="quarter" idx="12"/>
          </p:nvPr>
        </p:nvSpPr>
        <p:spPr/>
        <p:txBody>
          <a:bodyPr/>
          <a:lstStyle/>
          <a:p>
            <a:fld id="{670A9334-4E67-F94F-A05E-0CE8B74A054E}" type="slidenum">
              <a:rPr lang="en-US" smtClean="0"/>
              <a:t>42</a:t>
            </a:fld>
            <a:endParaRPr lang="en-US" dirty="0"/>
          </a:p>
        </p:txBody>
      </p:sp>
      <p:pic>
        <p:nvPicPr>
          <p:cNvPr id="8" name="Picture 7" descr="Text&#10;&#10;Description automatically generated with medium confidence">
            <a:extLst>
              <a:ext uri="{FF2B5EF4-FFF2-40B4-BE49-F238E27FC236}">
                <a16:creationId xmlns:a16="http://schemas.microsoft.com/office/drawing/2014/main" id="{D69888F9-BEBB-BCF0-F0E3-F7F9843C68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5411" y="1578914"/>
            <a:ext cx="5285959" cy="3700171"/>
          </a:xfrm>
          <a:prstGeom prst="rect">
            <a:avLst/>
          </a:prstGeom>
          <a:ln w="53975">
            <a:solidFill>
              <a:schemeClr val="accent1">
                <a:alpha val="99000"/>
              </a:schemeClr>
            </a:solidFill>
          </a:ln>
        </p:spPr>
      </p:pic>
    </p:spTree>
    <p:extLst>
      <p:ext uri="{BB962C8B-B14F-4D97-AF65-F5344CB8AC3E}">
        <p14:creationId xmlns:p14="http://schemas.microsoft.com/office/powerpoint/2010/main" val="2683924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5BAB5-DF5B-A54B-2F3B-E892F11CC237}"/>
              </a:ext>
            </a:extLst>
          </p:cNvPr>
          <p:cNvSpPr>
            <a:spLocks noGrp="1"/>
          </p:cNvSpPr>
          <p:nvPr>
            <p:ph type="title"/>
          </p:nvPr>
        </p:nvSpPr>
        <p:spPr/>
        <p:txBody>
          <a:bodyPr/>
          <a:lstStyle/>
          <a:p>
            <a:r>
              <a:rPr lang="en-US" dirty="0"/>
              <a:t>VHA End-of-Year Financial Close-Out Guidance</a:t>
            </a:r>
          </a:p>
        </p:txBody>
      </p:sp>
      <p:sp>
        <p:nvSpPr>
          <p:cNvPr id="3" name="Content Placeholder 2">
            <a:extLst>
              <a:ext uri="{FF2B5EF4-FFF2-40B4-BE49-F238E27FC236}">
                <a16:creationId xmlns:a16="http://schemas.microsoft.com/office/drawing/2014/main" id="{51D94C22-A83E-E13A-2EE8-117D7E048F55}"/>
              </a:ext>
            </a:extLst>
          </p:cNvPr>
          <p:cNvSpPr>
            <a:spLocks noGrp="1"/>
          </p:cNvSpPr>
          <p:nvPr>
            <p:ph idx="1"/>
          </p:nvPr>
        </p:nvSpPr>
        <p:spPr/>
        <p:txBody>
          <a:bodyPr/>
          <a:lstStyle/>
          <a:p>
            <a:r>
              <a:rPr lang="en-US" dirty="0"/>
              <a:t>Please watch for the reimbursement guidance as part of the VHA End-of-Year Financial Close out Guidance (will distribute this guidance as usual).</a:t>
            </a:r>
          </a:p>
          <a:p>
            <a:r>
              <a:rPr lang="en-US" dirty="0"/>
              <a:t>For example, in FY 2022 any reimbursement earned after </a:t>
            </a:r>
            <a:r>
              <a:rPr lang="en-US" b="1" dirty="0"/>
              <a:t>September 16th</a:t>
            </a:r>
            <a:r>
              <a:rPr lang="en-US" dirty="0"/>
              <a:t> will be held in the National Reserve. We are currently working with VHA Finance to get these funds to Research Station, but we highly recommend you try your best to ensure all reimbursements are earned by the cut-off date.</a:t>
            </a:r>
          </a:p>
        </p:txBody>
      </p:sp>
      <p:sp>
        <p:nvSpPr>
          <p:cNvPr id="4" name="Slide Number Placeholder 3">
            <a:extLst>
              <a:ext uri="{FF2B5EF4-FFF2-40B4-BE49-F238E27FC236}">
                <a16:creationId xmlns:a16="http://schemas.microsoft.com/office/drawing/2014/main" id="{A93C6EB1-BE4F-0F02-A961-8B3635484B8F}"/>
              </a:ext>
            </a:extLst>
          </p:cNvPr>
          <p:cNvSpPr>
            <a:spLocks noGrp="1"/>
          </p:cNvSpPr>
          <p:nvPr>
            <p:ph type="sldNum" sz="quarter" idx="12"/>
          </p:nvPr>
        </p:nvSpPr>
        <p:spPr/>
        <p:txBody>
          <a:bodyPr/>
          <a:lstStyle/>
          <a:p>
            <a:fld id="{670A9334-4E67-F94F-A05E-0CE8B74A054E}" type="slidenum">
              <a:rPr lang="en-US" smtClean="0"/>
              <a:t>43</a:t>
            </a:fld>
            <a:endParaRPr lang="en-US" dirty="0"/>
          </a:p>
        </p:txBody>
      </p:sp>
    </p:spTree>
    <p:extLst>
      <p:ext uri="{BB962C8B-B14F-4D97-AF65-F5344CB8AC3E}">
        <p14:creationId xmlns:p14="http://schemas.microsoft.com/office/powerpoint/2010/main" val="3513874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F6491-5234-9EA9-9EA2-DC72C3555237}"/>
              </a:ext>
            </a:extLst>
          </p:cNvPr>
          <p:cNvSpPr>
            <a:spLocks noGrp="1"/>
          </p:cNvSpPr>
          <p:nvPr>
            <p:ph type="title"/>
          </p:nvPr>
        </p:nvSpPr>
        <p:spPr/>
        <p:txBody>
          <a:bodyPr/>
          <a:lstStyle/>
          <a:p>
            <a:r>
              <a:rPr lang="en-US" dirty="0"/>
              <a:t>Questions</a:t>
            </a:r>
          </a:p>
        </p:txBody>
      </p:sp>
      <p:pic>
        <p:nvPicPr>
          <p:cNvPr id="6" name="Content Placeholder 5" descr="A picture containing text, clipart&#10;&#10;Description automatically generated">
            <a:extLst>
              <a:ext uri="{FF2B5EF4-FFF2-40B4-BE49-F238E27FC236}">
                <a16:creationId xmlns:a16="http://schemas.microsoft.com/office/drawing/2014/main" id="{62E918A6-1788-3F1A-C013-442FF9815A0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71850" y="1847056"/>
            <a:ext cx="4514850" cy="3381375"/>
          </a:xfrm>
        </p:spPr>
      </p:pic>
      <p:sp>
        <p:nvSpPr>
          <p:cNvPr id="4" name="Slide Number Placeholder 3">
            <a:extLst>
              <a:ext uri="{FF2B5EF4-FFF2-40B4-BE49-F238E27FC236}">
                <a16:creationId xmlns:a16="http://schemas.microsoft.com/office/drawing/2014/main" id="{D3CDB721-ECA8-1520-908D-4A7D733DE4C0}"/>
              </a:ext>
            </a:extLst>
          </p:cNvPr>
          <p:cNvSpPr>
            <a:spLocks noGrp="1"/>
          </p:cNvSpPr>
          <p:nvPr>
            <p:ph type="sldNum" sz="quarter" idx="12"/>
          </p:nvPr>
        </p:nvSpPr>
        <p:spPr/>
        <p:txBody>
          <a:bodyPr/>
          <a:lstStyle/>
          <a:p>
            <a:fld id="{670A9334-4E67-F94F-A05E-0CE8B74A054E}" type="slidenum">
              <a:rPr lang="en-US" smtClean="0"/>
              <a:t>44</a:t>
            </a:fld>
            <a:endParaRPr lang="en-US" dirty="0"/>
          </a:p>
        </p:txBody>
      </p:sp>
    </p:spTree>
    <p:extLst>
      <p:ext uri="{BB962C8B-B14F-4D97-AF65-F5344CB8AC3E}">
        <p14:creationId xmlns:p14="http://schemas.microsoft.com/office/powerpoint/2010/main" val="21322163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8D9CF-16C6-4C2F-ABFB-0471177B2DE1}"/>
              </a:ext>
            </a:extLst>
          </p:cNvPr>
          <p:cNvSpPr>
            <a:spLocks noGrp="1"/>
          </p:cNvSpPr>
          <p:nvPr>
            <p:ph type="title"/>
          </p:nvPr>
        </p:nvSpPr>
        <p:spPr/>
        <p:txBody>
          <a:bodyPr/>
          <a:lstStyle/>
          <a:p>
            <a:r>
              <a:rPr lang="en-US" dirty="0"/>
              <a:t>Links</a:t>
            </a:r>
          </a:p>
        </p:txBody>
      </p:sp>
      <p:sp>
        <p:nvSpPr>
          <p:cNvPr id="3" name="Content Placeholder 2">
            <a:extLst>
              <a:ext uri="{FF2B5EF4-FFF2-40B4-BE49-F238E27FC236}">
                <a16:creationId xmlns:a16="http://schemas.microsoft.com/office/drawing/2014/main" id="{E3E0BEF1-18B7-4EF5-A827-BD8C0D7F8F06}"/>
              </a:ext>
            </a:extLst>
          </p:cNvPr>
          <p:cNvSpPr>
            <a:spLocks noGrp="1"/>
          </p:cNvSpPr>
          <p:nvPr>
            <p:ph idx="1"/>
          </p:nvPr>
        </p:nvSpPr>
        <p:spPr>
          <a:xfrm>
            <a:off x="371475" y="1361621"/>
            <a:ext cx="11474628" cy="4351338"/>
          </a:xfrm>
        </p:spPr>
        <p:txBody>
          <a:bodyPr/>
          <a:lstStyle/>
          <a:p>
            <a:r>
              <a:rPr lang="en-US" dirty="0">
                <a:hlinkClick r:id="rId2"/>
              </a:rPr>
              <a:t>Reimbursable Policies - Financial Management System Services (va.gov)</a:t>
            </a:r>
            <a:endParaRPr lang="en-US" dirty="0">
              <a:hlinkClick r:id="rId3"/>
            </a:endParaRPr>
          </a:p>
          <a:p>
            <a:r>
              <a:rPr lang="en-US" dirty="0">
                <a:hlinkClick r:id="rId3"/>
              </a:rPr>
              <a:t>Departmental Guidance R Fund (FY 2018)</a:t>
            </a:r>
            <a:endParaRPr lang="en-US" sz="2800" kern="1400" dirty="0">
              <a:solidFill>
                <a:srgbClr val="002060"/>
              </a:solidFill>
              <a:ea typeface="Times New Roman" panose="02020603050405020304" pitchFamily="18" charset="0"/>
              <a:hlinkClick r:id="rId4"/>
            </a:endParaRPr>
          </a:p>
          <a:p>
            <a:r>
              <a:rPr lang="en-US" sz="2800" kern="1400" dirty="0">
                <a:solidFill>
                  <a:srgbClr val="002060"/>
                </a:solidFill>
                <a:ea typeface="Times New Roman" panose="02020603050405020304" pitchFamily="18" charset="0"/>
                <a:hlinkClick r:id="rId4"/>
              </a:rPr>
              <a:t>VHA Finance Alert (R-fund) Volume 2020, Issue 001</a:t>
            </a:r>
            <a:endParaRPr lang="en-US" sz="2800" u="sng" kern="1400" dirty="0">
              <a:solidFill>
                <a:srgbClr val="000000"/>
              </a:solidFill>
              <a:effectLst/>
              <a:ea typeface="Times New Roman" panose="02020603050405020304" pitchFamily="18" charset="0"/>
              <a:hlinkClick r:id="rId2"/>
            </a:endParaRPr>
          </a:p>
          <a:p>
            <a:r>
              <a:rPr lang="en-US" sz="2800" u="sng" kern="1400" dirty="0">
                <a:solidFill>
                  <a:srgbClr val="000000"/>
                </a:solidFill>
                <a:effectLst/>
                <a:ea typeface="Times New Roman" panose="02020603050405020304" pitchFamily="18" charset="0"/>
                <a:hlinkClick r:id="rId2"/>
              </a:rPr>
              <a:t>https://vaww.va.gov/fmshome/reimbursementPolicies.asp</a:t>
            </a:r>
            <a:endParaRPr lang="en-US" sz="2800" u="sng" kern="1400" dirty="0">
              <a:solidFill>
                <a:srgbClr val="000000"/>
              </a:solidFill>
              <a:effectLst/>
              <a:ea typeface="Times New Roman" panose="02020603050405020304" pitchFamily="18" charset="0"/>
            </a:endParaRPr>
          </a:p>
          <a:p>
            <a:r>
              <a:rPr lang="en-US" sz="2800" kern="1400" dirty="0">
                <a:ea typeface="Times New Roman" panose="02020603050405020304" pitchFamily="18" charset="0"/>
                <a:hlinkClick r:id="rId5"/>
              </a:rPr>
              <a:t>https://www.va.gov/finance/docs/VA-FinancialPolicyVolumeIChapter11.pdf</a:t>
            </a:r>
            <a:r>
              <a:rPr lang="en-US" sz="2800" kern="1400" dirty="0">
                <a:ea typeface="Times New Roman" panose="02020603050405020304" pitchFamily="18" charset="0"/>
              </a:rPr>
              <a:t> </a:t>
            </a:r>
          </a:p>
          <a:p>
            <a:r>
              <a:rPr lang="en-US" dirty="0">
                <a:hlinkClick r:id="rId6"/>
              </a:rPr>
              <a:t>Intragovernmental Reimbursement Guide</a:t>
            </a:r>
            <a:endParaRPr lang="en-US" dirty="0"/>
          </a:p>
          <a:p>
            <a:r>
              <a:rPr lang="en-US" dirty="0">
                <a:hlinkClick r:id="rId7"/>
              </a:rPr>
              <a:t>REIMB_EARNINGS - Report Viewer (va.gov)</a:t>
            </a:r>
            <a:endParaRPr lang="en-US" dirty="0"/>
          </a:p>
          <a:p>
            <a:r>
              <a:rPr lang="en-US" dirty="0">
                <a:hlinkClick r:id="rId8"/>
              </a:rPr>
              <a:t>FY 23 ORD IAA Training 120422.pptx</a:t>
            </a:r>
            <a:endParaRPr lang="en-US" sz="2800" kern="1400" dirty="0">
              <a:solidFill>
                <a:srgbClr val="000000"/>
              </a:solidFill>
              <a:effectLst/>
              <a:ea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F36A7872-4C56-493A-8791-FBB77592601A}"/>
              </a:ext>
            </a:extLst>
          </p:cNvPr>
          <p:cNvSpPr>
            <a:spLocks noGrp="1"/>
          </p:cNvSpPr>
          <p:nvPr>
            <p:ph type="sldNum" sz="quarter" idx="12"/>
          </p:nvPr>
        </p:nvSpPr>
        <p:spPr/>
        <p:txBody>
          <a:bodyPr/>
          <a:lstStyle/>
          <a:p>
            <a:fld id="{670A9334-4E67-F94F-A05E-0CE8B74A054E}" type="slidenum">
              <a:rPr lang="en-US" smtClean="0"/>
              <a:t>45</a:t>
            </a:fld>
            <a:endParaRPr lang="en-US" dirty="0"/>
          </a:p>
        </p:txBody>
      </p:sp>
    </p:spTree>
    <p:extLst>
      <p:ext uri="{BB962C8B-B14F-4D97-AF65-F5344CB8AC3E}">
        <p14:creationId xmlns:p14="http://schemas.microsoft.com/office/powerpoint/2010/main" val="890019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4D69F-0732-454C-AE2F-109054E856F1}"/>
              </a:ext>
            </a:extLst>
          </p:cNvPr>
          <p:cNvSpPr>
            <a:spLocks noGrp="1"/>
          </p:cNvSpPr>
          <p:nvPr>
            <p:ph type="title"/>
          </p:nvPr>
        </p:nvSpPr>
        <p:spPr>
          <a:xfrm>
            <a:off x="285750" y="136525"/>
            <a:ext cx="10515600" cy="618385"/>
          </a:xfrm>
        </p:spPr>
        <p:txBody>
          <a:bodyPr/>
          <a:lstStyle/>
          <a:p>
            <a:r>
              <a:rPr lang="en-US" dirty="0"/>
              <a:t>Acronyms </a:t>
            </a:r>
          </a:p>
        </p:txBody>
      </p:sp>
      <p:graphicFrame>
        <p:nvGraphicFramePr>
          <p:cNvPr id="6" name="Table 6">
            <a:extLst>
              <a:ext uri="{FF2B5EF4-FFF2-40B4-BE49-F238E27FC236}">
                <a16:creationId xmlns:a16="http://schemas.microsoft.com/office/drawing/2014/main" id="{23426CB8-C0A4-4F29-BD5A-3AD1C06B24D4}"/>
              </a:ext>
            </a:extLst>
          </p:cNvPr>
          <p:cNvGraphicFramePr>
            <a:graphicFrameLocks noGrp="1"/>
          </p:cNvGraphicFramePr>
          <p:nvPr>
            <p:ph idx="1"/>
            <p:extLst>
              <p:ext uri="{D42A27DB-BD31-4B8C-83A1-F6EECF244321}">
                <p14:modId xmlns:p14="http://schemas.microsoft.com/office/powerpoint/2010/main" val="4259104525"/>
              </p:ext>
            </p:extLst>
          </p:nvPr>
        </p:nvGraphicFramePr>
        <p:xfrm>
          <a:off x="371474" y="1105225"/>
          <a:ext cx="10982325" cy="4682276"/>
        </p:xfrm>
        <a:graphic>
          <a:graphicData uri="http://schemas.openxmlformats.org/drawingml/2006/table">
            <a:tbl>
              <a:tblPr firstRow="1" bandRow="1">
                <a:tableStyleId>{5C22544A-7EE6-4342-B048-85BDC9FD1C3A}</a:tableStyleId>
              </a:tblPr>
              <a:tblGrid>
                <a:gridCol w="1985591">
                  <a:extLst>
                    <a:ext uri="{9D8B030D-6E8A-4147-A177-3AD203B41FA5}">
                      <a16:colId xmlns:a16="http://schemas.microsoft.com/office/drawing/2014/main" val="1087374999"/>
                    </a:ext>
                  </a:extLst>
                </a:gridCol>
                <a:gridCol w="8996734">
                  <a:extLst>
                    <a:ext uri="{9D8B030D-6E8A-4147-A177-3AD203B41FA5}">
                      <a16:colId xmlns:a16="http://schemas.microsoft.com/office/drawing/2014/main" val="3667231305"/>
                    </a:ext>
                  </a:extLst>
                </a:gridCol>
              </a:tblGrid>
              <a:tr h="431313">
                <a:tc>
                  <a:txBody>
                    <a:bodyPr/>
                    <a:lstStyle/>
                    <a:p>
                      <a:r>
                        <a:rPr lang="en-US" dirty="0"/>
                        <a:t>Term</a:t>
                      </a:r>
                    </a:p>
                  </a:txBody>
                  <a:tcPr/>
                </a:tc>
                <a:tc>
                  <a:txBody>
                    <a:bodyPr/>
                    <a:lstStyle/>
                    <a:p>
                      <a:r>
                        <a:rPr lang="en-US" dirty="0"/>
                        <a:t>Definition</a:t>
                      </a:r>
                    </a:p>
                  </a:txBody>
                  <a:tcPr/>
                </a:tc>
                <a:extLst>
                  <a:ext uri="{0D108BD9-81ED-4DB2-BD59-A6C34878D82A}">
                    <a16:rowId xmlns:a16="http://schemas.microsoft.com/office/drawing/2014/main" val="1086271158"/>
                  </a:ext>
                </a:extLst>
              </a:tr>
              <a:tr h="1063512">
                <a:tc>
                  <a:txBody>
                    <a:bodyPr/>
                    <a:lstStyle/>
                    <a:p>
                      <a:r>
                        <a:rPr lang="en-US" sz="2000" b="1" dirty="0"/>
                        <a:t>TAS</a:t>
                      </a:r>
                    </a:p>
                  </a:txBody>
                  <a:tcPr/>
                </a:tc>
                <a:tc>
                  <a:txBody>
                    <a:bodyPr/>
                    <a:lstStyle/>
                    <a:p>
                      <a:r>
                        <a:rPr lang="en-US" sz="2000" dirty="0"/>
                        <a:t>Treasury Account Symbol - The legal basis for establishing a TAS in the Treasury Department and in VA’s financial system is enacted legislation, e.g., an Appropriations Act. The TAS includes codes for agency, main account, and period of availability that correspond to statutory language.</a:t>
                      </a:r>
                    </a:p>
                  </a:txBody>
                  <a:tcPr/>
                </a:tc>
                <a:extLst>
                  <a:ext uri="{0D108BD9-81ED-4DB2-BD59-A6C34878D82A}">
                    <a16:rowId xmlns:a16="http://schemas.microsoft.com/office/drawing/2014/main" val="1597913840"/>
                  </a:ext>
                </a:extLst>
              </a:tr>
              <a:tr h="431313">
                <a:tc>
                  <a:txBody>
                    <a:bodyPr/>
                    <a:lstStyle/>
                    <a:p>
                      <a:r>
                        <a:rPr lang="en-US" sz="2000" b="1" dirty="0"/>
                        <a:t>Fund</a:t>
                      </a:r>
                    </a:p>
                  </a:txBody>
                  <a:tcPr/>
                </a:tc>
                <a:tc>
                  <a:txBody>
                    <a:bodyPr/>
                    <a:lstStyle/>
                    <a:p>
                      <a:r>
                        <a:rPr lang="en-US" sz="2000" dirty="0"/>
                        <a:t>Fund is a sub-division of TAS established by VA and used to record financial transactions.</a:t>
                      </a:r>
                    </a:p>
                  </a:txBody>
                  <a:tcPr/>
                </a:tc>
                <a:extLst>
                  <a:ext uri="{0D108BD9-81ED-4DB2-BD59-A6C34878D82A}">
                    <a16:rowId xmlns:a16="http://schemas.microsoft.com/office/drawing/2014/main" val="1513710482"/>
                  </a:ext>
                </a:extLst>
              </a:tr>
              <a:tr h="744458">
                <a:tc>
                  <a:txBody>
                    <a:bodyPr/>
                    <a:lstStyle/>
                    <a:p>
                      <a:r>
                        <a:rPr lang="en-US" sz="2000" b="1" dirty="0"/>
                        <a:t>Buyer</a:t>
                      </a:r>
                    </a:p>
                  </a:txBody>
                  <a:tcPr/>
                </a:tc>
                <a:tc>
                  <a:txBody>
                    <a:bodyPr/>
                    <a:lstStyle/>
                    <a:p>
                      <a:r>
                        <a:rPr lang="en-US" sz="2000" dirty="0"/>
                        <a:t>Fund that buys goods or services (Direct obligations) from a different TAS called the Seller. The buyer is sometimes called the Ordering agency. </a:t>
                      </a:r>
                    </a:p>
                  </a:txBody>
                  <a:tcPr/>
                </a:tc>
                <a:extLst>
                  <a:ext uri="{0D108BD9-81ED-4DB2-BD59-A6C34878D82A}">
                    <a16:rowId xmlns:a16="http://schemas.microsoft.com/office/drawing/2014/main" val="1712028875"/>
                  </a:ext>
                </a:extLst>
              </a:tr>
              <a:tr h="1063512">
                <a:tc>
                  <a:txBody>
                    <a:bodyPr/>
                    <a:lstStyle/>
                    <a:p>
                      <a:r>
                        <a:rPr lang="en-US" sz="2000" b="1" dirty="0"/>
                        <a:t>Standard General Ledger (US SGL)</a:t>
                      </a:r>
                    </a:p>
                  </a:txBody>
                  <a:tcPr/>
                </a:tc>
                <a:tc>
                  <a:txBody>
                    <a:bodyPr/>
                    <a:lstStyle/>
                    <a:p>
                      <a:r>
                        <a:rPr lang="en-US" sz="2000" dirty="0"/>
                        <a:t>The United States Standard General Ledger (USSGL) provides a uniform chart of accounts and technical guidance for standardizing federal agency accounting.</a:t>
                      </a:r>
                    </a:p>
                  </a:txBody>
                  <a:tcPr/>
                </a:tc>
                <a:extLst>
                  <a:ext uri="{0D108BD9-81ED-4DB2-BD59-A6C34878D82A}">
                    <a16:rowId xmlns:a16="http://schemas.microsoft.com/office/drawing/2014/main" val="1906840861"/>
                  </a:ext>
                </a:extLst>
              </a:tr>
              <a:tr h="431313">
                <a:tc>
                  <a:txBody>
                    <a:bodyPr/>
                    <a:lstStyle/>
                    <a:p>
                      <a:r>
                        <a:rPr lang="en-US" sz="2000" b="1" dirty="0"/>
                        <a:t>MOU</a:t>
                      </a:r>
                    </a:p>
                  </a:txBody>
                  <a:tcPr/>
                </a:tc>
                <a:tc>
                  <a:txBody>
                    <a:bodyPr/>
                    <a:lstStyle/>
                    <a:p>
                      <a:r>
                        <a:rPr lang="en-US" sz="2000" dirty="0"/>
                        <a:t>Memorandum of Agreement</a:t>
                      </a:r>
                    </a:p>
                  </a:txBody>
                  <a:tcPr/>
                </a:tc>
                <a:extLst>
                  <a:ext uri="{0D108BD9-81ED-4DB2-BD59-A6C34878D82A}">
                    <a16:rowId xmlns:a16="http://schemas.microsoft.com/office/drawing/2014/main" val="4038760152"/>
                  </a:ext>
                </a:extLst>
              </a:tr>
            </a:tbl>
          </a:graphicData>
        </a:graphic>
      </p:graphicFrame>
      <p:sp>
        <p:nvSpPr>
          <p:cNvPr id="4" name="Slide Number Placeholder 3">
            <a:extLst>
              <a:ext uri="{FF2B5EF4-FFF2-40B4-BE49-F238E27FC236}">
                <a16:creationId xmlns:a16="http://schemas.microsoft.com/office/drawing/2014/main" id="{967A309D-A968-465B-80DD-A2EC3AB00408}"/>
              </a:ext>
            </a:extLst>
          </p:cNvPr>
          <p:cNvSpPr>
            <a:spLocks noGrp="1"/>
          </p:cNvSpPr>
          <p:nvPr>
            <p:ph type="sldNum" sz="quarter" idx="12"/>
          </p:nvPr>
        </p:nvSpPr>
        <p:spPr/>
        <p:txBody>
          <a:bodyPr/>
          <a:lstStyle/>
          <a:p>
            <a:fld id="{670A9334-4E67-F94F-A05E-0CE8B74A054E}" type="slidenum">
              <a:rPr lang="en-US" smtClean="0"/>
              <a:t>5</a:t>
            </a:fld>
            <a:endParaRPr lang="en-US" dirty="0"/>
          </a:p>
        </p:txBody>
      </p:sp>
    </p:spTree>
    <p:extLst>
      <p:ext uri="{BB962C8B-B14F-4D97-AF65-F5344CB8AC3E}">
        <p14:creationId xmlns:p14="http://schemas.microsoft.com/office/powerpoint/2010/main" val="206297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8590-E41A-437D-B6B1-1F700D7C6F5C}"/>
              </a:ext>
            </a:extLst>
          </p:cNvPr>
          <p:cNvSpPr>
            <a:spLocks noGrp="1"/>
          </p:cNvSpPr>
          <p:nvPr>
            <p:ph type="title"/>
          </p:nvPr>
        </p:nvSpPr>
        <p:spPr>
          <a:xfrm>
            <a:off x="157742" y="193934"/>
            <a:ext cx="11470821" cy="618385"/>
          </a:xfrm>
        </p:spPr>
        <p:txBody>
          <a:bodyPr/>
          <a:lstStyle/>
          <a:p>
            <a:r>
              <a:rPr lang="en-US" sz="3600" b="1" dirty="0"/>
              <a:t>Section 1: What is reimbursable work?</a:t>
            </a:r>
            <a:endParaRPr lang="en-US" dirty="0"/>
          </a:p>
        </p:txBody>
      </p:sp>
      <p:sp>
        <p:nvSpPr>
          <p:cNvPr id="4" name="Slide Number Placeholder 3">
            <a:extLst>
              <a:ext uri="{FF2B5EF4-FFF2-40B4-BE49-F238E27FC236}">
                <a16:creationId xmlns:a16="http://schemas.microsoft.com/office/drawing/2014/main" id="{7E3CC6F5-4720-4A15-BA58-361541CAC987}"/>
              </a:ext>
            </a:extLst>
          </p:cNvPr>
          <p:cNvSpPr>
            <a:spLocks noGrp="1"/>
          </p:cNvSpPr>
          <p:nvPr>
            <p:ph type="sldNum" sz="quarter" idx="12"/>
          </p:nvPr>
        </p:nvSpPr>
        <p:spPr/>
        <p:txBody>
          <a:bodyPr/>
          <a:lstStyle/>
          <a:p>
            <a:fld id="{670A9334-4E67-F94F-A05E-0CE8B74A054E}" type="slidenum">
              <a:rPr lang="en-US" smtClean="0"/>
              <a:t>6</a:t>
            </a:fld>
            <a:endParaRPr lang="en-US" dirty="0"/>
          </a:p>
        </p:txBody>
      </p:sp>
      <p:pic>
        <p:nvPicPr>
          <p:cNvPr id="7" name="Content Placeholder 6" descr="A picture containing text&#10;&#10;Description automatically generated">
            <a:extLst>
              <a:ext uri="{FF2B5EF4-FFF2-40B4-BE49-F238E27FC236}">
                <a16:creationId xmlns:a16="http://schemas.microsoft.com/office/drawing/2014/main" id="{25D2FB2A-262C-4E46-95C0-41C7AB62CF5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98752" y="1414541"/>
            <a:ext cx="7194495" cy="4028917"/>
          </a:xfrm>
        </p:spPr>
      </p:pic>
    </p:spTree>
    <p:extLst>
      <p:ext uri="{BB962C8B-B14F-4D97-AF65-F5344CB8AC3E}">
        <p14:creationId xmlns:p14="http://schemas.microsoft.com/office/powerpoint/2010/main" val="3634634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1783D-6C2E-40FB-8BDF-EF624352FB1D}"/>
              </a:ext>
            </a:extLst>
          </p:cNvPr>
          <p:cNvSpPr>
            <a:spLocks noGrp="1"/>
          </p:cNvSpPr>
          <p:nvPr>
            <p:ph type="title"/>
          </p:nvPr>
        </p:nvSpPr>
        <p:spPr/>
        <p:txBody>
          <a:bodyPr/>
          <a:lstStyle/>
          <a:p>
            <a:r>
              <a:rPr lang="en-US" dirty="0"/>
              <a:t>What is a reimbursable? </a:t>
            </a:r>
          </a:p>
        </p:txBody>
      </p:sp>
      <p:sp>
        <p:nvSpPr>
          <p:cNvPr id="3" name="Content Placeholder 2">
            <a:extLst>
              <a:ext uri="{FF2B5EF4-FFF2-40B4-BE49-F238E27FC236}">
                <a16:creationId xmlns:a16="http://schemas.microsoft.com/office/drawing/2014/main" id="{5E6A5C4E-5774-4AC3-B577-3963D7755F2A}"/>
              </a:ext>
            </a:extLst>
          </p:cNvPr>
          <p:cNvSpPr>
            <a:spLocks noGrp="1"/>
          </p:cNvSpPr>
          <p:nvPr>
            <p:ph idx="1"/>
          </p:nvPr>
        </p:nvSpPr>
        <p:spPr/>
        <p:txBody>
          <a:bodyPr/>
          <a:lstStyle/>
          <a:p>
            <a:r>
              <a:rPr lang="en-US" dirty="0"/>
              <a:t>Reimbursable activity are funded collected into an appropriation from sources typically other than an appropriation by Congress (called a direct appropriation).</a:t>
            </a:r>
          </a:p>
          <a:p>
            <a:r>
              <a:rPr lang="en-US" dirty="0"/>
              <a:t>It is the funding source, however, that determines whether spending is </a:t>
            </a:r>
            <a:r>
              <a:rPr lang="en-US" b="1" dirty="0"/>
              <a:t>direct </a:t>
            </a:r>
            <a:r>
              <a:rPr lang="en-US" dirty="0"/>
              <a:t>(an appropriation) or </a:t>
            </a:r>
            <a:r>
              <a:rPr lang="en-US" b="1" dirty="0"/>
              <a:t>reimbursable</a:t>
            </a:r>
            <a:r>
              <a:rPr lang="en-US" dirty="0"/>
              <a:t>. </a:t>
            </a:r>
          </a:p>
          <a:p>
            <a:r>
              <a:rPr lang="en-US" dirty="0"/>
              <a:t>By contrast to direct spending, which is appropriated by Congress, Reimbursable obligations in a Fund are financed from collections received in exchange for goods or service from one of three sources:</a:t>
            </a:r>
          </a:p>
          <a:p>
            <a:pPr lvl="1"/>
            <a:r>
              <a:rPr lang="en-US" dirty="0"/>
              <a:t>Fund within a different Treasury Account Symbol at VA, another Federal agency, and the public.</a:t>
            </a:r>
          </a:p>
        </p:txBody>
      </p:sp>
      <p:sp>
        <p:nvSpPr>
          <p:cNvPr id="4" name="Slide Number Placeholder 3">
            <a:extLst>
              <a:ext uri="{FF2B5EF4-FFF2-40B4-BE49-F238E27FC236}">
                <a16:creationId xmlns:a16="http://schemas.microsoft.com/office/drawing/2014/main" id="{8D1E4268-98A6-4480-934C-9AEC452E2C39}"/>
              </a:ext>
            </a:extLst>
          </p:cNvPr>
          <p:cNvSpPr>
            <a:spLocks noGrp="1"/>
          </p:cNvSpPr>
          <p:nvPr>
            <p:ph type="sldNum" sz="quarter" idx="12"/>
          </p:nvPr>
        </p:nvSpPr>
        <p:spPr/>
        <p:txBody>
          <a:bodyPr/>
          <a:lstStyle/>
          <a:p>
            <a:fld id="{670A9334-4E67-F94F-A05E-0CE8B74A054E}" type="slidenum">
              <a:rPr lang="en-US" smtClean="0"/>
              <a:t>7</a:t>
            </a:fld>
            <a:endParaRPr lang="en-US" dirty="0"/>
          </a:p>
        </p:txBody>
      </p:sp>
    </p:spTree>
    <p:extLst>
      <p:ext uri="{BB962C8B-B14F-4D97-AF65-F5344CB8AC3E}">
        <p14:creationId xmlns:p14="http://schemas.microsoft.com/office/powerpoint/2010/main" val="2431952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E1194-1790-4104-923A-2B9FE1B66319}"/>
              </a:ext>
            </a:extLst>
          </p:cNvPr>
          <p:cNvSpPr>
            <a:spLocks noGrp="1"/>
          </p:cNvSpPr>
          <p:nvPr>
            <p:ph type="title"/>
          </p:nvPr>
        </p:nvSpPr>
        <p:spPr/>
        <p:txBody>
          <a:bodyPr/>
          <a:lstStyle/>
          <a:p>
            <a:r>
              <a:rPr lang="en-US" dirty="0"/>
              <a:t>What is reimbursable work?</a:t>
            </a:r>
          </a:p>
        </p:txBody>
      </p:sp>
      <p:sp>
        <p:nvSpPr>
          <p:cNvPr id="3" name="Content Placeholder 2">
            <a:extLst>
              <a:ext uri="{FF2B5EF4-FFF2-40B4-BE49-F238E27FC236}">
                <a16:creationId xmlns:a16="http://schemas.microsoft.com/office/drawing/2014/main" id="{CDA530AF-9E43-4D00-8CFD-3665DCE6F645}"/>
              </a:ext>
            </a:extLst>
          </p:cNvPr>
          <p:cNvSpPr>
            <a:spLocks noGrp="1"/>
          </p:cNvSpPr>
          <p:nvPr>
            <p:ph idx="1"/>
          </p:nvPr>
        </p:nvSpPr>
        <p:spPr/>
        <p:txBody>
          <a:bodyPr/>
          <a:lstStyle/>
          <a:p>
            <a:r>
              <a:rPr lang="en-US" dirty="0">
                <a:hlinkClick r:id="rId2"/>
              </a:rPr>
              <a:t>OMB A-11 (Section 20.12) states that</a:t>
            </a:r>
            <a:r>
              <a:rPr lang="en-US" dirty="0"/>
              <a:t>:</a:t>
            </a:r>
          </a:p>
          <a:p>
            <a:r>
              <a:rPr lang="en-US" dirty="0"/>
              <a:t>Agencies can perform reimbursable work for the public or other Federal agencies. The types of laws that allow you to use advances or reimbursements in return for providing others with goods and services are: </a:t>
            </a:r>
          </a:p>
          <a:p>
            <a:pPr lvl="1"/>
            <a:r>
              <a:rPr lang="en-US" dirty="0"/>
              <a:t>Provisions in appropriations or substantive laws that allow agencies to use the amounts they collect.</a:t>
            </a:r>
          </a:p>
          <a:p>
            <a:pPr lvl="1"/>
            <a:r>
              <a:rPr lang="en-US" dirty="0"/>
              <a:t>The Economy Act (31.U.S.C. 1535)/Interagency Agreements.</a:t>
            </a:r>
          </a:p>
          <a:p>
            <a:r>
              <a:rPr lang="en-US" dirty="0"/>
              <a:t>Reimbursable authority is estimated in the annual budget justification and requires an OMB apportionment. </a:t>
            </a:r>
          </a:p>
        </p:txBody>
      </p:sp>
      <p:sp>
        <p:nvSpPr>
          <p:cNvPr id="4" name="Slide Number Placeholder 3">
            <a:extLst>
              <a:ext uri="{FF2B5EF4-FFF2-40B4-BE49-F238E27FC236}">
                <a16:creationId xmlns:a16="http://schemas.microsoft.com/office/drawing/2014/main" id="{2A16F6F3-7BE1-4FE6-A014-51EE6D921239}"/>
              </a:ext>
            </a:extLst>
          </p:cNvPr>
          <p:cNvSpPr>
            <a:spLocks noGrp="1"/>
          </p:cNvSpPr>
          <p:nvPr>
            <p:ph type="sldNum" sz="quarter" idx="12"/>
          </p:nvPr>
        </p:nvSpPr>
        <p:spPr/>
        <p:txBody>
          <a:bodyPr/>
          <a:lstStyle/>
          <a:p>
            <a:fld id="{670A9334-4E67-F94F-A05E-0CE8B74A054E}" type="slidenum">
              <a:rPr lang="en-US" smtClean="0"/>
              <a:t>8</a:t>
            </a:fld>
            <a:endParaRPr lang="en-US" dirty="0"/>
          </a:p>
        </p:txBody>
      </p:sp>
    </p:spTree>
    <p:extLst>
      <p:ext uri="{BB962C8B-B14F-4D97-AF65-F5344CB8AC3E}">
        <p14:creationId xmlns:p14="http://schemas.microsoft.com/office/powerpoint/2010/main" val="881960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BCD81-BE6D-4F4B-B876-8B1D53A22525}"/>
              </a:ext>
            </a:extLst>
          </p:cNvPr>
          <p:cNvSpPr>
            <a:spLocks noGrp="1"/>
          </p:cNvSpPr>
          <p:nvPr>
            <p:ph type="title"/>
          </p:nvPr>
        </p:nvSpPr>
        <p:spPr/>
        <p:txBody>
          <a:bodyPr/>
          <a:lstStyle/>
          <a:p>
            <a:r>
              <a:rPr lang="en-US" dirty="0"/>
              <a:t>What triggers a reimbursement?</a:t>
            </a:r>
          </a:p>
        </p:txBody>
      </p:sp>
      <p:sp>
        <p:nvSpPr>
          <p:cNvPr id="3" name="Content Placeholder 2">
            <a:extLst>
              <a:ext uri="{FF2B5EF4-FFF2-40B4-BE49-F238E27FC236}">
                <a16:creationId xmlns:a16="http://schemas.microsoft.com/office/drawing/2014/main" id="{0324081F-014F-4EAC-A6F1-D07E35B1F3B7}"/>
              </a:ext>
            </a:extLst>
          </p:cNvPr>
          <p:cNvSpPr>
            <a:spLocks noGrp="1"/>
          </p:cNvSpPr>
          <p:nvPr>
            <p:ph idx="1"/>
          </p:nvPr>
        </p:nvSpPr>
        <p:spPr/>
        <p:txBody>
          <a:bodyPr/>
          <a:lstStyle/>
          <a:p>
            <a:r>
              <a:rPr lang="en-US" dirty="0"/>
              <a:t>Executing an Inter-Agency Agreement (IAA) with another agency or a different TAS within VA in which the other agency or appropriation will later provide collections in exchange for goods or services. </a:t>
            </a:r>
            <a:r>
              <a:rPr lang="en-US" b="1" dirty="0"/>
              <a:t>Note</a:t>
            </a:r>
            <a:r>
              <a:rPr lang="en-US" dirty="0"/>
              <a:t>: VA uses G-Invoicing (7600A/B).</a:t>
            </a:r>
          </a:p>
          <a:p>
            <a:r>
              <a:rPr lang="en-US" dirty="0"/>
              <a:t>Recording collections from an IPAC transaction or via internal voucher transactions for collections from other VA TASs. </a:t>
            </a:r>
          </a:p>
          <a:p>
            <a:r>
              <a:rPr lang="en-US" dirty="0"/>
              <a:t>Recording collections from buy-sell transactions with the public (i.e., Universities and NPCs).</a:t>
            </a:r>
          </a:p>
        </p:txBody>
      </p:sp>
      <p:sp>
        <p:nvSpPr>
          <p:cNvPr id="4" name="Slide Number Placeholder 3">
            <a:extLst>
              <a:ext uri="{FF2B5EF4-FFF2-40B4-BE49-F238E27FC236}">
                <a16:creationId xmlns:a16="http://schemas.microsoft.com/office/drawing/2014/main" id="{9D7B5E5D-AEAD-482D-B78D-84C35949F931}"/>
              </a:ext>
            </a:extLst>
          </p:cNvPr>
          <p:cNvSpPr>
            <a:spLocks noGrp="1"/>
          </p:cNvSpPr>
          <p:nvPr>
            <p:ph type="sldNum" sz="quarter" idx="12"/>
          </p:nvPr>
        </p:nvSpPr>
        <p:spPr/>
        <p:txBody>
          <a:bodyPr/>
          <a:lstStyle/>
          <a:p>
            <a:fld id="{670A9334-4E67-F94F-A05E-0CE8B74A054E}" type="slidenum">
              <a:rPr lang="en-US" smtClean="0"/>
              <a:t>9</a:t>
            </a:fld>
            <a:endParaRPr lang="en-US" dirty="0"/>
          </a:p>
        </p:txBody>
      </p:sp>
    </p:spTree>
    <p:extLst>
      <p:ext uri="{BB962C8B-B14F-4D97-AF65-F5344CB8AC3E}">
        <p14:creationId xmlns:p14="http://schemas.microsoft.com/office/powerpoint/2010/main" val="1879045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9F05BAC-0179-4A7B-8E53-DBAF582248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5EE57CB-D684-43D4-8A95-57E34A9346BC}">
  <ds:schemaRefs>
    <ds:schemaRef ds:uri="http://schemas.microsoft.com/sharepoint/v3/contenttype/forms"/>
  </ds:schemaRefs>
</ds:datastoreItem>
</file>

<file path=customXml/itemProps3.xml><?xml version="1.0" encoding="utf-8"?>
<ds:datastoreItem xmlns:ds="http://schemas.openxmlformats.org/officeDocument/2006/customXml" ds:itemID="{4AEBE9D3-4971-4AC7-9A51-C7C39C7FEDB3}">
  <ds:schemaRefs>
    <ds:schemaRef ds:uri="b3b97a4c-43ac-46e7-9970-904f1e1efc09"/>
    <ds:schemaRef ds:uri="http://purl.org/dc/term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77dce447-0566-47ff-8c07-c9b85fda5322"/>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7</TotalTime>
  <Words>3351</Words>
  <Application>Microsoft Office PowerPoint</Application>
  <PresentationFormat>Widescreen</PresentationFormat>
  <Paragraphs>321</Paragraphs>
  <Slides>45</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2" baseType="lpstr">
      <vt:lpstr>Arial</vt:lpstr>
      <vt:lpstr>Bradley Hand ITC</vt:lpstr>
      <vt:lpstr>Calibri</vt:lpstr>
      <vt:lpstr>Calibri Light</vt:lpstr>
      <vt:lpstr>Wingdings</vt:lpstr>
      <vt:lpstr>1_Office Theme</vt:lpstr>
      <vt:lpstr>think-cell Slide</vt:lpstr>
      <vt:lpstr>PowerPoint Presentation</vt:lpstr>
      <vt:lpstr>Housekeeping</vt:lpstr>
      <vt:lpstr>Objectives – for today’s training</vt:lpstr>
      <vt:lpstr>Appropriations Law and Swag (follow-up)</vt:lpstr>
      <vt:lpstr>Acronyms </vt:lpstr>
      <vt:lpstr>Section 1: What is reimbursable work?</vt:lpstr>
      <vt:lpstr>What is a reimbursable? </vt:lpstr>
      <vt:lpstr>What is reimbursable work?</vt:lpstr>
      <vt:lpstr>What triggers a reimbursement?</vt:lpstr>
      <vt:lpstr>Reimbursements are authorized in the Medical Research Appropriations language</vt:lpstr>
      <vt:lpstr>Reimbursements and Appropriations Law</vt:lpstr>
      <vt:lpstr>FY 24 ORD Budget Justification </vt:lpstr>
      <vt:lpstr>OMB SF-132 (Apportionment)</vt:lpstr>
      <vt:lpstr>Section 2: The Process for Billing/Collecting</vt:lpstr>
      <vt:lpstr>Where do I collect my reimbursable funds?</vt:lpstr>
      <vt:lpstr>When is a collection required?</vt:lpstr>
      <vt:lpstr>Working with the NPCs/Foundations (0161X2)</vt:lpstr>
      <vt:lpstr>University Bills (0161R1) </vt:lpstr>
      <vt:lpstr>Reimbursement (0160R1) </vt:lpstr>
      <vt:lpstr>Determine Collections Type</vt:lpstr>
      <vt:lpstr>The Billing Process (for non-governmental entities)</vt:lpstr>
      <vt:lpstr>Example of MOU</vt:lpstr>
      <vt:lpstr>Setting up the Bill in VISTA Steps</vt:lpstr>
      <vt:lpstr>Setting up the bill</vt:lpstr>
      <vt:lpstr>Setting up the bill</vt:lpstr>
      <vt:lpstr>Setting up the bill</vt:lpstr>
      <vt:lpstr>What happens next</vt:lpstr>
      <vt:lpstr>PowerPoint Presentation</vt:lpstr>
      <vt:lpstr>PowerPoint Presentation</vt:lpstr>
      <vt:lpstr>Section 3: The Accounting Process </vt:lpstr>
      <vt:lpstr>Collections Activity</vt:lpstr>
      <vt:lpstr>VSSC and Checking Reimbursable Activity at the Station Level</vt:lpstr>
      <vt:lpstr>VSSC Reimbursable Monthly Earnings Report</vt:lpstr>
      <vt:lpstr>General Ledger Trial Balance Report (daily report)</vt:lpstr>
      <vt:lpstr>Section 4: The Reimbursable Process at VA/VHA</vt:lpstr>
      <vt:lpstr>VHA Finance Process</vt:lpstr>
      <vt:lpstr>VHA Finance/Reimbursable Process</vt:lpstr>
      <vt:lpstr>VHA Finance Distributes Reimbursements Report</vt:lpstr>
      <vt:lpstr>TDAs in AACS</vt:lpstr>
      <vt:lpstr>Processing the TDA</vt:lpstr>
      <vt:lpstr>End of Year Processing Requirements </vt:lpstr>
      <vt:lpstr>Section 5: End of Year Processing Requirements </vt:lpstr>
      <vt:lpstr>VHA End-of-Year Financial Close-Out Guidance</vt:lpstr>
      <vt:lpstr>Questions</vt:lpstr>
      <vt:lpstr>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eimbursable Process in Research</dc:title>
  <dc:subject>The Reimbursable Process in Research</dc:subject>
  <dc:creator>Divya Dandu</dc:creator>
  <cp:keywords>The Reimbursable Process in Research</cp:keywords>
  <cp:lastModifiedBy>Rivera, Portia T</cp:lastModifiedBy>
  <cp:revision>55</cp:revision>
  <dcterms:created xsi:type="dcterms:W3CDTF">2022-08-04T15:38:13Z</dcterms:created>
  <dcterms:modified xsi:type="dcterms:W3CDTF">2023-03-17T17: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